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8.xml" ContentType="application/vnd.openxmlformats-officedocument.presentationml.tags+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74" r:id="rId3"/>
    <p:sldMasterId id="2147484970" r:id="rId4"/>
  </p:sldMasterIdLst>
  <p:notesMasterIdLst>
    <p:notesMasterId r:id="rId29"/>
  </p:notesMasterIdLst>
  <p:sldIdLst>
    <p:sldId id="2103813174" r:id="rId5"/>
    <p:sldId id="2103813334" r:id="rId6"/>
    <p:sldId id="2103813336" r:id="rId7"/>
    <p:sldId id="2103813201" r:id="rId8"/>
    <p:sldId id="2103813180" r:id="rId9"/>
    <p:sldId id="1693" r:id="rId10"/>
    <p:sldId id="2103813183" r:id="rId11"/>
    <p:sldId id="2103813184" r:id="rId12"/>
    <p:sldId id="2103813191" r:id="rId13"/>
    <p:sldId id="2103813192" r:id="rId14"/>
    <p:sldId id="349" r:id="rId15"/>
    <p:sldId id="2103813194" r:id="rId16"/>
    <p:sldId id="2103813186" r:id="rId17"/>
    <p:sldId id="344" r:id="rId18"/>
    <p:sldId id="345" r:id="rId19"/>
    <p:sldId id="2103813185" r:id="rId20"/>
    <p:sldId id="2103813188" r:id="rId21"/>
    <p:sldId id="2103813189" r:id="rId22"/>
    <p:sldId id="2103813190" r:id="rId23"/>
    <p:sldId id="2103813181" r:id="rId24"/>
    <p:sldId id="11113" r:id="rId25"/>
    <p:sldId id="530" r:id="rId26"/>
    <p:sldId id="1343" r:id="rId27"/>
    <p:sldId id="27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03813334"/>
            <p14:sldId id="2103813336"/>
          </p14:sldIdLst>
        </p14:section>
        <p14:section name="Module 1: Azure Monitor" id="{D2BC3036-AFF2-4A70-B633-C33CF965DF72}">
          <p14:sldIdLst>
            <p14:sldId id="2103813201"/>
            <p14:sldId id="2103813180"/>
            <p14:sldId id="1693"/>
            <p14:sldId id="2103813183"/>
            <p14:sldId id="2103813184"/>
            <p14:sldId id="2103813191"/>
            <p14:sldId id="2103813192"/>
            <p14:sldId id="349"/>
            <p14:sldId id="2103813194"/>
          </p14:sldIdLst>
        </p14:section>
        <p14:section name="Module 2: Azure Log Analytics" id="{202F4EBE-B38E-4E87-B4CE-08FA6E39A93F}">
          <p14:sldIdLst>
            <p14:sldId id="2103813186"/>
            <p14:sldId id="344"/>
            <p14:sldId id="345"/>
            <p14:sldId id="2103813185"/>
            <p14:sldId id="2103813188"/>
            <p14:sldId id="2103813189"/>
            <p14:sldId id="2103813190"/>
            <p14:sldId id="2103813181"/>
            <p14:sldId id="11113"/>
            <p14:sldId id="530"/>
            <p14:sldId id="134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5C3EA"/>
    <a:srgbClr val="569AD2"/>
    <a:srgbClr val="FFFF99"/>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683" autoAdjust="0"/>
    <p:restoredTop sz="92136" autoAdjust="0"/>
  </p:normalViewPr>
  <p:slideViewPr>
    <p:cSldViewPr snapToGrid="0">
      <p:cViewPr varScale="1">
        <p:scale>
          <a:sx n="65" d="100"/>
          <a:sy n="65" d="100"/>
        </p:scale>
        <p:origin x="38" y="30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1.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diagrams/_rels/data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EB11C7-8E35-496E-8BBA-B5FE5C2DA876}"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06B0F420-A2DD-4C38-8943-E47A75976368}">
      <dgm:prSet/>
      <dgm:spPr/>
      <dgm:t>
        <a:bodyPr/>
        <a:lstStyle/>
        <a:p>
          <a:pPr>
            <a:lnSpc>
              <a:spcPct val="100000"/>
            </a:lnSpc>
          </a:pPr>
          <a:r>
            <a:rPr lang="en-US" dirty="0"/>
            <a:t>What is Azure Monitor?</a:t>
          </a:r>
        </a:p>
      </dgm:t>
    </dgm:pt>
    <dgm:pt modelId="{DDA18201-CAF4-4AF1-9209-D0B1EDB8C3BE}" type="parTrans" cxnId="{3FA7F744-0946-4746-A94D-B3B0F3AB4289}">
      <dgm:prSet/>
      <dgm:spPr/>
      <dgm:t>
        <a:bodyPr/>
        <a:lstStyle/>
        <a:p>
          <a:endParaRPr lang="en-US"/>
        </a:p>
      </dgm:t>
    </dgm:pt>
    <dgm:pt modelId="{48F85F08-174A-488C-AB7D-4915668FD800}" type="sibTrans" cxnId="{3FA7F744-0946-4746-A94D-B3B0F3AB4289}">
      <dgm:prSet/>
      <dgm:spPr/>
      <dgm:t>
        <a:bodyPr/>
        <a:lstStyle/>
        <a:p>
          <a:endParaRPr lang="en-US"/>
        </a:p>
      </dgm:t>
    </dgm:pt>
    <dgm:pt modelId="{EE98D1C5-B0E0-4C19-982D-140CCEEE3991}">
      <dgm:prSet/>
      <dgm:spPr/>
      <dgm:t>
        <a:bodyPr/>
        <a:lstStyle/>
        <a:p>
          <a:pPr>
            <a:lnSpc>
              <a:spcPct val="100000"/>
            </a:lnSpc>
          </a:pPr>
          <a:r>
            <a:rPr lang="en-US" dirty="0"/>
            <a:t>Azure Monitor Metrics</a:t>
          </a:r>
        </a:p>
      </dgm:t>
    </dgm:pt>
    <dgm:pt modelId="{D716EE45-F47F-4BBF-8BB2-97EF8483E770}" type="parTrans" cxnId="{F9BE348B-1165-4FBB-A1D1-8FD67AF47495}">
      <dgm:prSet/>
      <dgm:spPr/>
      <dgm:t>
        <a:bodyPr/>
        <a:lstStyle/>
        <a:p>
          <a:endParaRPr lang="en-US"/>
        </a:p>
      </dgm:t>
    </dgm:pt>
    <dgm:pt modelId="{E009A3B0-129A-4DB7-B797-2D44A153D4F3}" type="sibTrans" cxnId="{F9BE348B-1165-4FBB-A1D1-8FD67AF47495}">
      <dgm:prSet/>
      <dgm:spPr/>
      <dgm:t>
        <a:bodyPr/>
        <a:lstStyle/>
        <a:p>
          <a:endParaRPr lang="en-US"/>
        </a:p>
      </dgm:t>
    </dgm:pt>
    <dgm:pt modelId="{335A2D5B-C538-448A-A582-4D99B59086FE}">
      <dgm:prSet/>
      <dgm:spPr/>
      <dgm:t>
        <a:bodyPr/>
        <a:lstStyle/>
        <a:p>
          <a:pPr>
            <a:lnSpc>
              <a:spcPct val="100000"/>
            </a:lnSpc>
          </a:pPr>
          <a:r>
            <a:rPr lang="en-US" dirty="0"/>
            <a:t>Azure Monitor Alerts</a:t>
          </a:r>
        </a:p>
      </dgm:t>
    </dgm:pt>
    <dgm:pt modelId="{07AFF277-D1A6-4328-B502-12302E3D3DFA}" type="parTrans" cxnId="{013464F7-970E-48AE-83C5-ACC12F10AA15}">
      <dgm:prSet/>
      <dgm:spPr/>
      <dgm:t>
        <a:bodyPr/>
        <a:lstStyle/>
        <a:p>
          <a:endParaRPr lang="en-US"/>
        </a:p>
      </dgm:t>
    </dgm:pt>
    <dgm:pt modelId="{A8D17CB4-56BA-45CD-9B5E-344D0656ED02}" type="sibTrans" cxnId="{013464F7-970E-48AE-83C5-ACC12F10AA15}">
      <dgm:prSet/>
      <dgm:spPr/>
      <dgm:t>
        <a:bodyPr/>
        <a:lstStyle/>
        <a:p>
          <a:endParaRPr lang="en-US"/>
        </a:p>
      </dgm:t>
    </dgm:pt>
    <dgm:pt modelId="{074D2FD1-58DB-4E8C-918C-A77DDCDAA307}">
      <dgm:prSet/>
      <dgm:spPr/>
      <dgm:t>
        <a:bodyPr/>
        <a:lstStyle/>
        <a:p>
          <a:pPr>
            <a:lnSpc>
              <a:spcPct val="100000"/>
            </a:lnSpc>
          </a:pPr>
          <a:r>
            <a:rPr lang="en-US" dirty="0"/>
            <a:t>Azure Monitor Logs</a:t>
          </a:r>
        </a:p>
      </dgm:t>
    </dgm:pt>
    <dgm:pt modelId="{18D401EE-945D-4CF4-9C74-7EF3DF52F0FD}" type="parTrans" cxnId="{9E7B533C-DE6A-401D-83F1-233B4C01FA09}">
      <dgm:prSet/>
      <dgm:spPr/>
      <dgm:t>
        <a:bodyPr/>
        <a:lstStyle/>
        <a:p>
          <a:endParaRPr lang="en-US"/>
        </a:p>
      </dgm:t>
    </dgm:pt>
    <dgm:pt modelId="{003AC53D-8431-467D-9CF2-4A304C70F1A9}" type="sibTrans" cxnId="{9E7B533C-DE6A-401D-83F1-233B4C01FA09}">
      <dgm:prSet/>
      <dgm:spPr/>
      <dgm:t>
        <a:bodyPr/>
        <a:lstStyle/>
        <a:p>
          <a:endParaRPr lang="en-US"/>
        </a:p>
      </dgm:t>
    </dgm:pt>
    <dgm:pt modelId="{14ABBD2B-AF67-441A-ACBC-0BF81FE0F14F}">
      <dgm:prSet/>
      <dgm:spPr/>
      <dgm:t>
        <a:bodyPr/>
        <a:lstStyle/>
        <a:p>
          <a:pPr>
            <a:lnSpc>
              <a:spcPct val="100000"/>
            </a:lnSpc>
          </a:pPr>
          <a:r>
            <a:rPr lang="en-US" dirty="0"/>
            <a:t>Demonstration</a:t>
          </a:r>
        </a:p>
      </dgm:t>
    </dgm:pt>
    <dgm:pt modelId="{92699F64-9698-438D-9DD0-157C4FE5DF25}" type="parTrans" cxnId="{71E732EB-961D-46B1-889D-6D05F25790CD}">
      <dgm:prSet/>
      <dgm:spPr/>
      <dgm:t>
        <a:bodyPr/>
        <a:lstStyle/>
        <a:p>
          <a:endParaRPr lang="en-US"/>
        </a:p>
      </dgm:t>
    </dgm:pt>
    <dgm:pt modelId="{0468E891-0718-4AAB-A80F-A05C83BFF88A}" type="sibTrans" cxnId="{71E732EB-961D-46B1-889D-6D05F25790CD}">
      <dgm:prSet/>
      <dgm:spPr/>
      <dgm:t>
        <a:bodyPr/>
        <a:lstStyle/>
        <a:p>
          <a:endParaRPr lang="en-US"/>
        </a:p>
      </dgm:t>
    </dgm:pt>
    <dgm:pt modelId="{6B5D32CC-F210-4C45-B3F5-FFBCC8E2AF99}" type="pres">
      <dgm:prSet presAssocID="{86EB11C7-8E35-496E-8BBA-B5FE5C2DA876}" presName="root" presStyleCnt="0">
        <dgm:presLayoutVars>
          <dgm:dir/>
          <dgm:resizeHandles val="exact"/>
        </dgm:presLayoutVars>
      </dgm:prSet>
      <dgm:spPr/>
    </dgm:pt>
    <dgm:pt modelId="{31CF5DA2-93C9-4648-A815-8673FDD83E34}" type="pres">
      <dgm:prSet presAssocID="{06B0F420-A2DD-4C38-8943-E47A75976368}" presName="compNode" presStyleCnt="0"/>
      <dgm:spPr/>
    </dgm:pt>
    <dgm:pt modelId="{3E424C43-B76A-4FE6-AFB6-0DDFDF826F18}" type="pres">
      <dgm:prSet presAssocID="{06B0F420-A2DD-4C38-8943-E47A75976368}" presName="bgRect" presStyleLbl="bgShp" presStyleIdx="0" presStyleCnt="5"/>
      <dgm:spPr/>
    </dgm:pt>
    <dgm:pt modelId="{1A6C9610-7FD3-45FD-B025-B6951F0F16B6}" type="pres">
      <dgm:prSet presAssocID="{06B0F420-A2DD-4C38-8943-E47A75976368}"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l="10417" r="10417"/>
          </a:stretch>
        </a:blipFill>
        <a:ln>
          <a:noFill/>
        </a:ln>
      </dgm:spPr>
      <dgm:extLst>
        <a:ext uri="{E40237B7-FDA0-4F09-8148-C483321AD2D9}">
          <dgm14:cNvPr xmlns:dgm14="http://schemas.microsoft.com/office/drawing/2010/diagram" id="0" name="" descr="cloud_Microsoft Cloud.svg"/>
        </a:ext>
      </dgm:extLst>
    </dgm:pt>
    <dgm:pt modelId="{42EB851D-D802-4A4A-BB2A-0676D81D7968}" type="pres">
      <dgm:prSet presAssocID="{06B0F420-A2DD-4C38-8943-E47A75976368}" presName="spaceRect" presStyleCnt="0"/>
      <dgm:spPr/>
    </dgm:pt>
    <dgm:pt modelId="{9F9D693D-3FAE-4BC3-9FD4-599D0DE9501F}" type="pres">
      <dgm:prSet presAssocID="{06B0F420-A2DD-4C38-8943-E47A75976368}" presName="parTx" presStyleLbl="revTx" presStyleIdx="0" presStyleCnt="5">
        <dgm:presLayoutVars>
          <dgm:chMax val="0"/>
          <dgm:chPref val="0"/>
        </dgm:presLayoutVars>
      </dgm:prSet>
      <dgm:spPr/>
    </dgm:pt>
    <dgm:pt modelId="{65C4157E-E002-4B20-A27B-28DBEADDA56D}" type="pres">
      <dgm:prSet presAssocID="{48F85F08-174A-488C-AB7D-4915668FD800}" presName="sibTrans" presStyleCnt="0"/>
      <dgm:spPr/>
    </dgm:pt>
    <dgm:pt modelId="{E0F81100-E386-4DB1-9334-1BCCE0C40DD5}" type="pres">
      <dgm:prSet presAssocID="{EE98D1C5-B0E0-4C19-982D-140CCEEE3991}" presName="compNode" presStyleCnt="0"/>
      <dgm:spPr/>
    </dgm:pt>
    <dgm:pt modelId="{F7935257-6E27-4E30-AA4C-7886053DFF89}" type="pres">
      <dgm:prSet presAssocID="{EE98D1C5-B0E0-4C19-982D-140CCEEE3991}" presName="bgRect" presStyleLbl="bgShp" presStyleIdx="1" presStyleCnt="5"/>
      <dgm:spPr/>
    </dgm:pt>
    <dgm:pt modelId="{42F0D577-451E-499B-9BA5-907C6E369216}" type="pres">
      <dgm:prSet presAssocID="{EE98D1C5-B0E0-4C19-982D-140CCEEE3991}"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peedometer"/>
        </a:ext>
      </dgm:extLst>
    </dgm:pt>
    <dgm:pt modelId="{74C761F5-D468-493A-A4E8-5262D93D889A}" type="pres">
      <dgm:prSet presAssocID="{EE98D1C5-B0E0-4C19-982D-140CCEEE3991}" presName="spaceRect" presStyleCnt="0"/>
      <dgm:spPr/>
    </dgm:pt>
    <dgm:pt modelId="{41091981-96F3-4100-B623-8E04F24EF551}" type="pres">
      <dgm:prSet presAssocID="{EE98D1C5-B0E0-4C19-982D-140CCEEE3991}" presName="parTx" presStyleLbl="revTx" presStyleIdx="1" presStyleCnt="5">
        <dgm:presLayoutVars>
          <dgm:chMax val="0"/>
          <dgm:chPref val="0"/>
        </dgm:presLayoutVars>
      </dgm:prSet>
      <dgm:spPr/>
    </dgm:pt>
    <dgm:pt modelId="{1C1907EE-B405-4944-A49B-CE94D7DAC084}" type="pres">
      <dgm:prSet presAssocID="{E009A3B0-129A-4DB7-B797-2D44A153D4F3}" presName="sibTrans" presStyleCnt="0"/>
      <dgm:spPr/>
    </dgm:pt>
    <dgm:pt modelId="{0F734C35-A541-41A1-8D96-14C9C0298AEC}" type="pres">
      <dgm:prSet presAssocID="{335A2D5B-C538-448A-A582-4D99B59086FE}" presName="compNode" presStyleCnt="0"/>
      <dgm:spPr/>
    </dgm:pt>
    <dgm:pt modelId="{6585374A-9E18-4057-B3FB-1DBF61C5E62D}" type="pres">
      <dgm:prSet presAssocID="{335A2D5B-C538-448A-A582-4D99B59086FE}" presName="bgRect" presStyleLbl="bgShp" presStyleIdx="2" presStyleCnt="5"/>
      <dgm:spPr/>
    </dgm:pt>
    <dgm:pt modelId="{7826A16C-BD45-4211-B104-03DCC918AD98}" type="pres">
      <dgm:prSet presAssocID="{335A2D5B-C538-448A-A582-4D99B59086FE}"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arning_E7BA"/>
        </a:ext>
      </dgm:extLst>
    </dgm:pt>
    <dgm:pt modelId="{9DC5791C-7D0F-46D3-B021-D18D91EC4EAE}" type="pres">
      <dgm:prSet presAssocID="{335A2D5B-C538-448A-A582-4D99B59086FE}" presName="spaceRect" presStyleCnt="0"/>
      <dgm:spPr/>
    </dgm:pt>
    <dgm:pt modelId="{A81A821F-85AE-4238-B629-A82C9E1C61E7}" type="pres">
      <dgm:prSet presAssocID="{335A2D5B-C538-448A-A582-4D99B59086FE}" presName="parTx" presStyleLbl="revTx" presStyleIdx="2" presStyleCnt="5">
        <dgm:presLayoutVars>
          <dgm:chMax val="0"/>
          <dgm:chPref val="0"/>
        </dgm:presLayoutVars>
      </dgm:prSet>
      <dgm:spPr/>
    </dgm:pt>
    <dgm:pt modelId="{AA85BF91-4201-490A-87F7-05500A59DB73}" type="pres">
      <dgm:prSet presAssocID="{A8D17CB4-56BA-45CD-9B5E-344D0656ED02}" presName="sibTrans" presStyleCnt="0"/>
      <dgm:spPr/>
    </dgm:pt>
    <dgm:pt modelId="{8165D395-F886-48AF-B359-3E9F21228A0C}" type="pres">
      <dgm:prSet presAssocID="{074D2FD1-58DB-4E8C-918C-A77DDCDAA307}" presName="compNode" presStyleCnt="0"/>
      <dgm:spPr/>
    </dgm:pt>
    <dgm:pt modelId="{432EF4BE-F406-4B4D-BBF4-C5A87BF9A125}" type="pres">
      <dgm:prSet presAssocID="{074D2FD1-58DB-4E8C-918C-A77DDCDAA307}" presName="bgRect" presStyleLbl="bgShp" presStyleIdx="3" presStyleCnt="5"/>
      <dgm:spPr/>
    </dgm:pt>
    <dgm:pt modelId="{6DD0A68A-6E3A-4E4E-9C79-1EB63F37C4FB}" type="pres">
      <dgm:prSet presAssocID="{074D2FD1-58DB-4E8C-918C-A77DDCDAA307}"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t="18539" b="18539"/>
          </a:stretch>
        </a:blipFill>
        <a:ln>
          <a:noFill/>
        </a:ln>
      </dgm:spPr>
      <dgm:extLst>
        <a:ext uri="{E40237B7-FDA0-4F09-8148-C483321AD2D9}">
          <dgm14:cNvPr xmlns:dgm14="http://schemas.microsoft.com/office/drawing/2010/diagram" id="0" name="" descr="bot_2"/>
        </a:ext>
      </dgm:extLst>
    </dgm:pt>
    <dgm:pt modelId="{B0BCFDDD-0908-45A4-B130-DD6FCFC7E2A1}" type="pres">
      <dgm:prSet presAssocID="{074D2FD1-58DB-4E8C-918C-A77DDCDAA307}" presName="spaceRect" presStyleCnt="0"/>
      <dgm:spPr/>
    </dgm:pt>
    <dgm:pt modelId="{E1FCDFB1-D1F0-491A-93AB-8F20034FD9F1}" type="pres">
      <dgm:prSet presAssocID="{074D2FD1-58DB-4E8C-918C-A77DDCDAA307}" presName="parTx" presStyleLbl="revTx" presStyleIdx="3" presStyleCnt="5">
        <dgm:presLayoutVars>
          <dgm:chMax val="0"/>
          <dgm:chPref val="0"/>
        </dgm:presLayoutVars>
      </dgm:prSet>
      <dgm:spPr/>
    </dgm:pt>
    <dgm:pt modelId="{DAF83BA4-0BCA-46DE-92E9-816B5C61E51F}" type="pres">
      <dgm:prSet presAssocID="{003AC53D-8431-467D-9CF2-4A304C70F1A9}" presName="sibTrans" presStyleCnt="0"/>
      <dgm:spPr/>
    </dgm:pt>
    <dgm:pt modelId="{F7E7926E-0821-410C-B223-F994069B7661}" type="pres">
      <dgm:prSet presAssocID="{14ABBD2B-AF67-441A-ACBC-0BF81FE0F14F}" presName="compNode" presStyleCnt="0"/>
      <dgm:spPr/>
    </dgm:pt>
    <dgm:pt modelId="{C75D4B41-E7B4-4EBF-9284-46B2170C0834}" type="pres">
      <dgm:prSet presAssocID="{14ABBD2B-AF67-441A-ACBC-0BF81FE0F14F}" presName="bgRect" presStyleLbl="bgShp" presStyleIdx="4" presStyleCnt="5"/>
      <dgm:spPr/>
    </dgm:pt>
    <dgm:pt modelId="{CDE4537A-3333-47B2-95A7-4A272B567388}" type="pres">
      <dgm:prSet presAssocID="{14ABBD2B-AF67-441A-ACBC-0BF81FE0F14F}"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girl_2"/>
        </a:ext>
      </dgm:extLst>
    </dgm:pt>
    <dgm:pt modelId="{D17C57C7-BA5C-4377-ADC3-0AE7109B33DB}" type="pres">
      <dgm:prSet presAssocID="{14ABBD2B-AF67-441A-ACBC-0BF81FE0F14F}" presName="spaceRect" presStyleCnt="0"/>
      <dgm:spPr/>
    </dgm:pt>
    <dgm:pt modelId="{C324765D-214B-45BE-877B-6D5B44B1AAD8}" type="pres">
      <dgm:prSet presAssocID="{14ABBD2B-AF67-441A-ACBC-0BF81FE0F14F}" presName="parTx" presStyleLbl="revTx" presStyleIdx="4" presStyleCnt="5">
        <dgm:presLayoutVars>
          <dgm:chMax val="0"/>
          <dgm:chPref val="0"/>
        </dgm:presLayoutVars>
      </dgm:prSet>
      <dgm:spPr/>
    </dgm:pt>
  </dgm:ptLst>
  <dgm:cxnLst>
    <dgm:cxn modelId="{9E7B533C-DE6A-401D-83F1-233B4C01FA09}" srcId="{86EB11C7-8E35-496E-8BBA-B5FE5C2DA876}" destId="{074D2FD1-58DB-4E8C-918C-A77DDCDAA307}" srcOrd="3" destOrd="0" parTransId="{18D401EE-945D-4CF4-9C74-7EF3DF52F0FD}" sibTransId="{003AC53D-8431-467D-9CF2-4A304C70F1A9}"/>
    <dgm:cxn modelId="{344B745B-1BAF-42B1-AD21-00106E042553}" type="presOf" srcId="{EE98D1C5-B0E0-4C19-982D-140CCEEE3991}" destId="{41091981-96F3-4100-B623-8E04F24EF551}" srcOrd="0" destOrd="0" presId="urn:microsoft.com/office/officeart/2018/2/layout/IconVerticalSolidList"/>
    <dgm:cxn modelId="{3FA7F744-0946-4746-A94D-B3B0F3AB4289}" srcId="{86EB11C7-8E35-496E-8BBA-B5FE5C2DA876}" destId="{06B0F420-A2DD-4C38-8943-E47A75976368}" srcOrd="0" destOrd="0" parTransId="{DDA18201-CAF4-4AF1-9209-D0B1EDB8C3BE}" sibTransId="{48F85F08-174A-488C-AB7D-4915668FD800}"/>
    <dgm:cxn modelId="{F9BE348B-1165-4FBB-A1D1-8FD67AF47495}" srcId="{86EB11C7-8E35-496E-8BBA-B5FE5C2DA876}" destId="{EE98D1C5-B0E0-4C19-982D-140CCEEE3991}" srcOrd="1" destOrd="0" parTransId="{D716EE45-F47F-4BBF-8BB2-97EF8483E770}" sibTransId="{E009A3B0-129A-4DB7-B797-2D44A153D4F3}"/>
    <dgm:cxn modelId="{7E1EC29A-A295-44C8-B1AD-865A613EDC58}" type="presOf" srcId="{074D2FD1-58DB-4E8C-918C-A77DDCDAA307}" destId="{E1FCDFB1-D1F0-491A-93AB-8F20034FD9F1}" srcOrd="0" destOrd="0" presId="urn:microsoft.com/office/officeart/2018/2/layout/IconVerticalSolidList"/>
    <dgm:cxn modelId="{DC7E06AB-E304-45A4-B787-BFD8C3D4FA7A}" type="presOf" srcId="{06B0F420-A2DD-4C38-8943-E47A75976368}" destId="{9F9D693D-3FAE-4BC3-9FD4-599D0DE9501F}" srcOrd="0" destOrd="0" presId="urn:microsoft.com/office/officeart/2018/2/layout/IconVerticalSolidList"/>
    <dgm:cxn modelId="{887BB8B8-CDF7-4FF6-95A8-9F477EC84C6B}" type="presOf" srcId="{335A2D5B-C538-448A-A582-4D99B59086FE}" destId="{A81A821F-85AE-4238-B629-A82C9E1C61E7}" srcOrd="0" destOrd="0" presId="urn:microsoft.com/office/officeart/2018/2/layout/IconVerticalSolidList"/>
    <dgm:cxn modelId="{9DA632CF-C417-43AE-9A56-4DD9CABB2A57}" type="presOf" srcId="{14ABBD2B-AF67-441A-ACBC-0BF81FE0F14F}" destId="{C324765D-214B-45BE-877B-6D5B44B1AAD8}" srcOrd="0" destOrd="0" presId="urn:microsoft.com/office/officeart/2018/2/layout/IconVerticalSolidList"/>
    <dgm:cxn modelId="{D620D5DA-B2D5-48CF-8A7C-80C494B64BD5}" type="presOf" srcId="{86EB11C7-8E35-496E-8BBA-B5FE5C2DA876}" destId="{6B5D32CC-F210-4C45-B3F5-FFBCC8E2AF99}" srcOrd="0" destOrd="0" presId="urn:microsoft.com/office/officeart/2018/2/layout/IconVerticalSolidList"/>
    <dgm:cxn modelId="{71E732EB-961D-46B1-889D-6D05F25790CD}" srcId="{86EB11C7-8E35-496E-8BBA-B5FE5C2DA876}" destId="{14ABBD2B-AF67-441A-ACBC-0BF81FE0F14F}" srcOrd="4" destOrd="0" parTransId="{92699F64-9698-438D-9DD0-157C4FE5DF25}" sibTransId="{0468E891-0718-4AAB-A80F-A05C83BFF88A}"/>
    <dgm:cxn modelId="{013464F7-970E-48AE-83C5-ACC12F10AA15}" srcId="{86EB11C7-8E35-496E-8BBA-B5FE5C2DA876}" destId="{335A2D5B-C538-448A-A582-4D99B59086FE}" srcOrd="2" destOrd="0" parTransId="{07AFF277-D1A6-4328-B502-12302E3D3DFA}" sibTransId="{A8D17CB4-56BA-45CD-9B5E-344D0656ED02}"/>
    <dgm:cxn modelId="{F14D1D9E-FA18-44BA-93AA-F2D93F6B6566}" type="presParOf" srcId="{6B5D32CC-F210-4C45-B3F5-FFBCC8E2AF99}" destId="{31CF5DA2-93C9-4648-A815-8673FDD83E34}" srcOrd="0" destOrd="0" presId="urn:microsoft.com/office/officeart/2018/2/layout/IconVerticalSolidList"/>
    <dgm:cxn modelId="{828622C9-FC86-4EAC-A4BF-F1775E417C9E}" type="presParOf" srcId="{31CF5DA2-93C9-4648-A815-8673FDD83E34}" destId="{3E424C43-B76A-4FE6-AFB6-0DDFDF826F18}" srcOrd="0" destOrd="0" presId="urn:microsoft.com/office/officeart/2018/2/layout/IconVerticalSolidList"/>
    <dgm:cxn modelId="{0B0F6F3D-6D74-41FC-AE82-C5F8AA087691}" type="presParOf" srcId="{31CF5DA2-93C9-4648-A815-8673FDD83E34}" destId="{1A6C9610-7FD3-45FD-B025-B6951F0F16B6}" srcOrd="1" destOrd="0" presId="urn:microsoft.com/office/officeart/2018/2/layout/IconVerticalSolidList"/>
    <dgm:cxn modelId="{9A2F360E-819B-4EF5-B335-0D96F8DDEF7C}" type="presParOf" srcId="{31CF5DA2-93C9-4648-A815-8673FDD83E34}" destId="{42EB851D-D802-4A4A-BB2A-0676D81D7968}" srcOrd="2" destOrd="0" presId="urn:microsoft.com/office/officeart/2018/2/layout/IconVerticalSolidList"/>
    <dgm:cxn modelId="{7917FD32-0E55-4306-9ABE-7BD99FA9CB16}" type="presParOf" srcId="{31CF5DA2-93C9-4648-A815-8673FDD83E34}" destId="{9F9D693D-3FAE-4BC3-9FD4-599D0DE9501F}" srcOrd="3" destOrd="0" presId="urn:microsoft.com/office/officeart/2018/2/layout/IconVerticalSolidList"/>
    <dgm:cxn modelId="{2844EC7F-70F6-4F52-A0AB-04FF324B79B7}" type="presParOf" srcId="{6B5D32CC-F210-4C45-B3F5-FFBCC8E2AF99}" destId="{65C4157E-E002-4B20-A27B-28DBEADDA56D}" srcOrd="1" destOrd="0" presId="urn:microsoft.com/office/officeart/2018/2/layout/IconVerticalSolidList"/>
    <dgm:cxn modelId="{02915E2A-D804-4BC2-873F-08E259034AF5}" type="presParOf" srcId="{6B5D32CC-F210-4C45-B3F5-FFBCC8E2AF99}" destId="{E0F81100-E386-4DB1-9334-1BCCE0C40DD5}" srcOrd="2" destOrd="0" presId="urn:microsoft.com/office/officeart/2018/2/layout/IconVerticalSolidList"/>
    <dgm:cxn modelId="{4DE49D1A-0384-4E93-B57D-3A7730C499F4}" type="presParOf" srcId="{E0F81100-E386-4DB1-9334-1BCCE0C40DD5}" destId="{F7935257-6E27-4E30-AA4C-7886053DFF89}" srcOrd="0" destOrd="0" presId="urn:microsoft.com/office/officeart/2018/2/layout/IconVerticalSolidList"/>
    <dgm:cxn modelId="{2479B2BB-1456-402D-AFFC-79558FC6CA9E}" type="presParOf" srcId="{E0F81100-E386-4DB1-9334-1BCCE0C40DD5}" destId="{42F0D577-451E-499B-9BA5-907C6E369216}" srcOrd="1" destOrd="0" presId="urn:microsoft.com/office/officeart/2018/2/layout/IconVerticalSolidList"/>
    <dgm:cxn modelId="{81719544-66A2-487F-922A-B25A5691FF62}" type="presParOf" srcId="{E0F81100-E386-4DB1-9334-1BCCE0C40DD5}" destId="{74C761F5-D468-493A-A4E8-5262D93D889A}" srcOrd="2" destOrd="0" presId="urn:microsoft.com/office/officeart/2018/2/layout/IconVerticalSolidList"/>
    <dgm:cxn modelId="{2B160930-215F-474D-952B-324200995C62}" type="presParOf" srcId="{E0F81100-E386-4DB1-9334-1BCCE0C40DD5}" destId="{41091981-96F3-4100-B623-8E04F24EF551}" srcOrd="3" destOrd="0" presId="urn:microsoft.com/office/officeart/2018/2/layout/IconVerticalSolidList"/>
    <dgm:cxn modelId="{0D3694BD-A874-49E6-9826-9A3569806085}" type="presParOf" srcId="{6B5D32CC-F210-4C45-B3F5-FFBCC8E2AF99}" destId="{1C1907EE-B405-4944-A49B-CE94D7DAC084}" srcOrd="3" destOrd="0" presId="urn:microsoft.com/office/officeart/2018/2/layout/IconVerticalSolidList"/>
    <dgm:cxn modelId="{B4A6CF74-D266-45CC-A081-06CA45ED1F97}" type="presParOf" srcId="{6B5D32CC-F210-4C45-B3F5-FFBCC8E2AF99}" destId="{0F734C35-A541-41A1-8D96-14C9C0298AEC}" srcOrd="4" destOrd="0" presId="urn:microsoft.com/office/officeart/2018/2/layout/IconVerticalSolidList"/>
    <dgm:cxn modelId="{FB1039A9-6047-4DA2-825D-0B598D1B6370}" type="presParOf" srcId="{0F734C35-A541-41A1-8D96-14C9C0298AEC}" destId="{6585374A-9E18-4057-B3FB-1DBF61C5E62D}" srcOrd="0" destOrd="0" presId="urn:microsoft.com/office/officeart/2018/2/layout/IconVerticalSolidList"/>
    <dgm:cxn modelId="{2E09BB1C-6B46-4355-A2C5-C2C4F54DB4F7}" type="presParOf" srcId="{0F734C35-A541-41A1-8D96-14C9C0298AEC}" destId="{7826A16C-BD45-4211-B104-03DCC918AD98}" srcOrd="1" destOrd="0" presId="urn:microsoft.com/office/officeart/2018/2/layout/IconVerticalSolidList"/>
    <dgm:cxn modelId="{02E08140-5A21-41CF-AD8D-AE51486044B0}" type="presParOf" srcId="{0F734C35-A541-41A1-8D96-14C9C0298AEC}" destId="{9DC5791C-7D0F-46D3-B021-D18D91EC4EAE}" srcOrd="2" destOrd="0" presId="urn:microsoft.com/office/officeart/2018/2/layout/IconVerticalSolidList"/>
    <dgm:cxn modelId="{0027BAFD-B1E3-4D1B-A45F-15AEECABEF34}" type="presParOf" srcId="{0F734C35-A541-41A1-8D96-14C9C0298AEC}" destId="{A81A821F-85AE-4238-B629-A82C9E1C61E7}" srcOrd="3" destOrd="0" presId="urn:microsoft.com/office/officeart/2018/2/layout/IconVerticalSolidList"/>
    <dgm:cxn modelId="{3B5ADE11-F144-41FE-B81D-5160B99BD4D9}" type="presParOf" srcId="{6B5D32CC-F210-4C45-B3F5-FFBCC8E2AF99}" destId="{AA85BF91-4201-490A-87F7-05500A59DB73}" srcOrd="5" destOrd="0" presId="urn:microsoft.com/office/officeart/2018/2/layout/IconVerticalSolidList"/>
    <dgm:cxn modelId="{58625EED-C7CA-4C2C-9C61-D1AB2E0E9B45}" type="presParOf" srcId="{6B5D32CC-F210-4C45-B3F5-FFBCC8E2AF99}" destId="{8165D395-F886-48AF-B359-3E9F21228A0C}" srcOrd="6" destOrd="0" presId="urn:microsoft.com/office/officeart/2018/2/layout/IconVerticalSolidList"/>
    <dgm:cxn modelId="{9226AAFB-7FD1-4BF3-8945-E0CC3499534E}" type="presParOf" srcId="{8165D395-F886-48AF-B359-3E9F21228A0C}" destId="{432EF4BE-F406-4B4D-BBF4-C5A87BF9A125}" srcOrd="0" destOrd="0" presId="urn:microsoft.com/office/officeart/2018/2/layout/IconVerticalSolidList"/>
    <dgm:cxn modelId="{84CA3E36-7B46-41FD-A23B-1572965BF878}" type="presParOf" srcId="{8165D395-F886-48AF-B359-3E9F21228A0C}" destId="{6DD0A68A-6E3A-4E4E-9C79-1EB63F37C4FB}" srcOrd="1" destOrd="0" presId="urn:microsoft.com/office/officeart/2018/2/layout/IconVerticalSolidList"/>
    <dgm:cxn modelId="{4722E8A9-47F6-4C08-B58E-DA81A9840502}" type="presParOf" srcId="{8165D395-F886-48AF-B359-3E9F21228A0C}" destId="{B0BCFDDD-0908-45A4-B130-DD6FCFC7E2A1}" srcOrd="2" destOrd="0" presId="urn:microsoft.com/office/officeart/2018/2/layout/IconVerticalSolidList"/>
    <dgm:cxn modelId="{5498CEB3-E75C-45EC-9579-EC8C4B72A94E}" type="presParOf" srcId="{8165D395-F886-48AF-B359-3E9F21228A0C}" destId="{E1FCDFB1-D1F0-491A-93AB-8F20034FD9F1}" srcOrd="3" destOrd="0" presId="urn:microsoft.com/office/officeart/2018/2/layout/IconVerticalSolidList"/>
    <dgm:cxn modelId="{44FC4A1F-C3F0-4FC0-8CD6-0D160537CBB8}" type="presParOf" srcId="{6B5D32CC-F210-4C45-B3F5-FFBCC8E2AF99}" destId="{DAF83BA4-0BCA-46DE-92E9-816B5C61E51F}" srcOrd="7" destOrd="0" presId="urn:microsoft.com/office/officeart/2018/2/layout/IconVerticalSolidList"/>
    <dgm:cxn modelId="{1B45A0EE-FCA2-4AFF-88C8-1AF15BEDD9C3}" type="presParOf" srcId="{6B5D32CC-F210-4C45-B3F5-FFBCC8E2AF99}" destId="{F7E7926E-0821-410C-B223-F994069B7661}" srcOrd="8" destOrd="0" presId="urn:microsoft.com/office/officeart/2018/2/layout/IconVerticalSolidList"/>
    <dgm:cxn modelId="{5DA14FF2-DF91-4DB0-AD8D-449A20B95328}" type="presParOf" srcId="{F7E7926E-0821-410C-B223-F994069B7661}" destId="{C75D4B41-E7B4-4EBF-9284-46B2170C0834}" srcOrd="0" destOrd="0" presId="urn:microsoft.com/office/officeart/2018/2/layout/IconVerticalSolidList"/>
    <dgm:cxn modelId="{34401E65-48DC-492F-92D2-55C1E359D60D}" type="presParOf" srcId="{F7E7926E-0821-410C-B223-F994069B7661}" destId="{CDE4537A-3333-47B2-95A7-4A272B567388}" srcOrd="1" destOrd="0" presId="urn:microsoft.com/office/officeart/2018/2/layout/IconVerticalSolidList"/>
    <dgm:cxn modelId="{AC8CD37B-8C31-4113-8834-954CBD871C7C}" type="presParOf" srcId="{F7E7926E-0821-410C-B223-F994069B7661}" destId="{D17C57C7-BA5C-4377-ADC3-0AE7109B33DB}" srcOrd="2" destOrd="0" presId="urn:microsoft.com/office/officeart/2018/2/layout/IconVerticalSolidList"/>
    <dgm:cxn modelId="{3284B1F9-5CAF-4FA6-B734-DEBC9348D390}" type="presParOf" srcId="{F7E7926E-0821-410C-B223-F994069B7661}" destId="{C324765D-214B-45BE-877B-6D5B44B1AAD8}"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61F937-A520-4079-8EDE-3D0B9EFB6721}"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B0F5A4F3-5D33-4357-BBB2-38A1DF48EE64}">
      <dgm:prSet phldrT="[Text]" custT="1"/>
      <dgm:spPr/>
      <dgm:t>
        <a:bodyPr/>
        <a:lstStyle/>
        <a:p>
          <a:pPr>
            <a:buNone/>
          </a:pPr>
          <a:r>
            <a:rPr lang="en-US" sz="2800" i="0" dirty="0"/>
            <a:t>Azure Monitor Metrics stores numeric data in a time-series database, which makes this data more lightweight than Azure Monitor Logs and capable of supporting near real-time scenarios making them particularly useful for alerting and fast detection of issues</a:t>
          </a:r>
        </a:p>
      </dgm:t>
    </dgm:pt>
    <dgm:pt modelId="{88C5C4D9-1E71-45C8-8E03-6760BC05C705}" type="parTrans" cxnId="{879857D8-9093-40A5-969C-D684F1DCB374}">
      <dgm:prSet/>
      <dgm:spPr/>
      <dgm:t>
        <a:bodyPr/>
        <a:lstStyle/>
        <a:p>
          <a:endParaRPr lang="en-US"/>
        </a:p>
      </dgm:t>
    </dgm:pt>
    <dgm:pt modelId="{2F57A9DE-A97A-4722-B358-B56D774774BF}" type="sibTrans" cxnId="{879857D8-9093-40A5-969C-D684F1DCB374}">
      <dgm:prSet/>
      <dgm:spPr/>
      <dgm:t>
        <a:bodyPr/>
        <a:lstStyle/>
        <a:p>
          <a:endParaRPr lang="en-US"/>
        </a:p>
      </dgm:t>
    </dgm:pt>
    <dgm:pt modelId="{38F9E3BB-11C2-4CD4-BD05-5409F14AD387}" type="pres">
      <dgm:prSet presAssocID="{EA61F937-A520-4079-8EDE-3D0B9EFB6721}" presName="linear" presStyleCnt="0">
        <dgm:presLayoutVars>
          <dgm:animLvl val="lvl"/>
          <dgm:resizeHandles val="exact"/>
        </dgm:presLayoutVars>
      </dgm:prSet>
      <dgm:spPr/>
    </dgm:pt>
    <dgm:pt modelId="{23391FB6-B363-43B4-A61A-8E77F77F6DE0}" type="pres">
      <dgm:prSet presAssocID="{B0F5A4F3-5D33-4357-BBB2-38A1DF48EE64}" presName="parentText" presStyleLbl="node1" presStyleIdx="0" presStyleCnt="1" custLinFactNeighborX="335" custLinFactNeighborY="-1637">
        <dgm:presLayoutVars>
          <dgm:chMax val="0"/>
          <dgm:bulletEnabled val="1"/>
        </dgm:presLayoutVars>
      </dgm:prSet>
      <dgm:spPr/>
    </dgm:pt>
  </dgm:ptLst>
  <dgm:cxnLst>
    <dgm:cxn modelId="{18EC9284-CBBA-4CA1-AEF7-E26BF1A00D57}" type="presOf" srcId="{B0F5A4F3-5D33-4357-BBB2-38A1DF48EE64}" destId="{23391FB6-B363-43B4-A61A-8E77F77F6DE0}" srcOrd="0" destOrd="0" presId="urn:microsoft.com/office/officeart/2005/8/layout/vList2"/>
    <dgm:cxn modelId="{B4B564C1-E04B-4B54-8892-5EF2A2FCBC6E}" type="presOf" srcId="{EA61F937-A520-4079-8EDE-3D0B9EFB6721}" destId="{38F9E3BB-11C2-4CD4-BD05-5409F14AD387}" srcOrd="0" destOrd="0" presId="urn:microsoft.com/office/officeart/2005/8/layout/vList2"/>
    <dgm:cxn modelId="{879857D8-9093-40A5-969C-D684F1DCB374}" srcId="{EA61F937-A520-4079-8EDE-3D0B9EFB6721}" destId="{B0F5A4F3-5D33-4357-BBB2-38A1DF48EE64}" srcOrd="0" destOrd="0" parTransId="{88C5C4D9-1E71-45C8-8E03-6760BC05C705}" sibTransId="{2F57A9DE-A97A-4722-B358-B56D774774BF}"/>
    <dgm:cxn modelId="{DD6007F6-250D-499F-A394-6A56383F03B4}" type="presParOf" srcId="{38F9E3BB-11C2-4CD4-BD05-5409F14AD387}" destId="{23391FB6-B363-43B4-A61A-8E77F77F6DE0}"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7FC218-FA99-44ED-BACD-CA75695A511B}" type="doc">
      <dgm:prSet loTypeId="urn:microsoft.com/office/officeart/2005/8/layout/list1" loCatId="list" qsTypeId="urn:microsoft.com/office/officeart/2005/8/quickstyle/simple1" qsCatId="simple" csTypeId="urn:microsoft.com/office/officeart/2005/8/colors/colorful2" csCatId="colorful"/>
      <dgm:spPr/>
      <dgm:t>
        <a:bodyPr/>
        <a:lstStyle/>
        <a:p>
          <a:endParaRPr lang="en-US"/>
        </a:p>
      </dgm:t>
    </dgm:pt>
    <dgm:pt modelId="{FDB1FEE3-46E3-4774-AC93-2B12A2F5B1DA}">
      <dgm:prSet custT="1"/>
      <dgm:spPr/>
      <dgm:t>
        <a:bodyPr/>
        <a:lstStyle/>
        <a:p>
          <a:r>
            <a:rPr lang="en-US" sz="2400" baseline="0"/>
            <a:t>Customizable</a:t>
          </a:r>
          <a:endParaRPr lang="en-US" sz="2400"/>
        </a:p>
      </dgm:t>
    </dgm:pt>
    <dgm:pt modelId="{A13FE402-8292-421F-82BA-89074D730BDD}" type="parTrans" cxnId="{2FB71616-68AC-4273-9972-22311D474630}">
      <dgm:prSet/>
      <dgm:spPr/>
      <dgm:t>
        <a:bodyPr/>
        <a:lstStyle/>
        <a:p>
          <a:endParaRPr lang="en-US"/>
        </a:p>
      </dgm:t>
    </dgm:pt>
    <dgm:pt modelId="{BBF475A0-F70F-4A5E-A9A9-2F1E01CA410E}" type="sibTrans" cxnId="{2FB71616-68AC-4273-9972-22311D474630}">
      <dgm:prSet/>
      <dgm:spPr/>
      <dgm:t>
        <a:bodyPr/>
        <a:lstStyle/>
        <a:p>
          <a:endParaRPr lang="en-US"/>
        </a:p>
      </dgm:t>
    </dgm:pt>
    <dgm:pt modelId="{DE0D0F4E-4D6A-4797-A0F8-D9AC53262211}">
      <dgm:prSet custT="1"/>
      <dgm:spPr/>
      <dgm:t>
        <a:bodyPr/>
        <a:lstStyle/>
        <a:p>
          <a:r>
            <a:rPr lang="en-US" sz="2400" baseline="0"/>
            <a:t>Pin:</a:t>
          </a:r>
          <a:endParaRPr lang="en-US" sz="2400"/>
        </a:p>
      </dgm:t>
    </dgm:pt>
    <dgm:pt modelId="{0819A93A-69A8-4A02-8B40-AFCB45057E29}" type="parTrans" cxnId="{C8DC34E0-7419-4B22-9909-A0B5C9505EF4}">
      <dgm:prSet/>
      <dgm:spPr/>
      <dgm:t>
        <a:bodyPr/>
        <a:lstStyle/>
        <a:p>
          <a:endParaRPr lang="en-US"/>
        </a:p>
      </dgm:t>
    </dgm:pt>
    <dgm:pt modelId="{C80A6C4E-2893-4134-9104-24F1C9D3E094}" type="sibTrans" cxnId="{C8DC34E0-7419-4B22-9909-A0B5C9505EF4}">
      <dgm:prSet/>
      <dgm:spPr/>
      <dgm:t>
        <a:bodyPr/>
        <a:lstStyle/>
        <a:p>
          <a:endParaRPr lang="en-US"/>
        </a:p>
      </dgm:t>
    </dgm:pt>
    <dgm:pt modelId="{C1439C93-161F-4B60-BE0B-DE975CA8193E}">
      <dgm:prSet/>
      <dgm:spPr/>
      <dgm:t>
        <a:bodyPr/>
        <a:lstStyle/>
        <a:p>
          <a:r>
            <a:rPr lang="en-US" baseline="0"/>
            <a:t>Resources</a:t>
          </a:r>
          <a:endParaRPr lang="en-US"/>
        </a:p>
      </dgm:t>
    </dgm:pt>
    <dgm:pt modelId="{8B3728AA-2558-4B4C-955E-B1CC51267532}" type="parTrans" cxnId="{F7D38AE3-EE9E-4B5F-9931-07DDC0C4C311}">
      <dgm:prSet/>
      <dgm:spPr/>
      <dgm:t>
        <a:bodyPr/>
        <a:lstStyle/>
        <a:p>
          <a:endParaRPr lang="en-US"/>
        </a:p>
      </dgm:t>
    </dgm:pt>
    <dgm:pt modelId="{0113E692-4C89-4A83-A16E-295CD588C4A9}" type="sibTrans" cxnId="{F7D38AE3-EE9E-4B5F-9931-07DDC0C4C311}">
      <dgm:prSet/>
      <dgm:spPr/>
      <dgm:t>
        <a:bodyPr/>
        <a:lstStyle/>
        <a:p>
          <a:endParaRPr lang="en-US"/>
        </a:p>
      </dgm:t>
    </dgm:pt>
    <dgm:pt modelId="{E02ABF5B-6FB0-46D1-96C6-029C60BCB4C4}">
      <dgm:prSet/>
      <dgm:spPr/>
      <dgm:t>
        <a:bodyPr/>
        <a:lstStyle/>
        <a:p>
          <a:r>
            <a:rPr lang="en-US" baseline="0"/>
            <a:t>Metrics</a:t>
          </a:r>
          <a:endParaRPr lang="en-US"/>
        </a:p>
      </dgm:t>
    </dgm:pt>
    <dgm:pt modelId="{A22DACCA-72FB-4D8D-ADD5-733D90F84EC2}" type="parTrans" cxnId="{A9ABDCCE-D315-46CC-B510-63541719D71B}">
      <dgm:prSet/>
      <dgm:spPr/>
      <dgm:t>
        <a:bodyPr/>
        <a:lstStyle/>
        <a:p>
          <a:endParaRPr lang="en-US"/>
        </a:p>
      </dgm:t>
    </dgm:pt>
    <dgm:pt modelId="{DDBB9E1A-EF19-4A5D-A0BF-AF73F724D1E5}" type="sibTrans" cxnId="{A9ABDCCE-D315-46CC-B510-63541719D71B}">
      <dgm:prSet/>
      <dgm:spPr/>
      <dgm:t>
        <a:bodyPr/>
        <a:lstStyle/>
        <a:p>
          <a:endParaRPr lang="en-US"/>
        </a:p>
      </dgm:t>
    </dgm:pt>
    <dgm:pt modelId="{C2D88445-FC24-4D87-AF20-6019793632C7}">
      <dgm:prSet/>
      <dgm:spPr/>
      <dgm:t>
        <a:bodyPr/>
        <a:lstStyle/>
        <a:p>
          <a:r>
            <a:rPr lang="en-US" baseline="0"/>
            <a:t>Log analytics charts</a:t>
          </a:r>
          <a:endParaRPr lang="en-US"/>
        </a:p>
      </dgm:t>
    </dgm:pt>
    <dgm:pt modelId="{9C1C881A-D80B-48BB-81B7-9CF28FC8D897}" type="parTrans" cxnId="{7513FC50-7F29-4BB4-AA7A-8CCC415EB686}">
      <dgm:prSet/>
      <dgm:spPr/>
      <dgm:t>
        <a:bodyPr/>
        <a:lstStyle/>
        <a:p>
          <a:endParaRPr lang="en-US"/>
        </a:p>
      </dgm:t>
    </dgm:pt>
    <dgm:pt modelId="{27042163-8B20-4793-9B2C-7A8BC26B116A}" type="sibTrans" cxnId="{7513FC50-7F29-4BB4-AA7A-8CCC415EB686}">
      <dgm:prSet/>
      <dgm:spPr/>
      <dgm:t>
        <a:bodyPr/>
        <a:lstStyle/>
        <a:p>
          <a:endParaRPr lang="en-US"/>
        </a:p>
      </dgm:t>
    </dgm:pt>
    <dgm:pt modelId="{2BEB751C-029F-478B-A433-12270BAE0294}">
      <dgm:prSet/>
      <dgm:spPr/>
      <dgm:t>
        <a:bodyPr/>
        <a:lstStyle/>
        <a:p>
          <a:r>
            <a:rPr lang="en-US" baseline="0" dirty="0"/>
            <a:t>Text boxes</a:t>
          </a:r>
          <a:endParaRPr lang="en-US" dirty="0"/>
        </a:p>
      </dgm:t>
    </dgm:pt>
    <dgm:pt modelId="{9416DDB9-3C13-457A-8161-BD71C8747722}" type="parTrans" cxnId="{2F313F57-7708-4985-B3EB-7BC047D693FE}">
      <dgm:prSet/>
      <dgm:spPr/>
      <dgm:t>
        <a:bodyPr/>
        <a:lstStyle/>
        <a:p>
          <a:endParaRPr lang="en-US"/>
        </a:p>
      </dgm:t>
    </dgm:pt>
    <dgm:pt modelId="{F5EE7803-DEAD-427C-9553-6A33DAE6A54D}" type="sibTrans" cxnId="{2F313F57-7708-4985-B3EB-7BC047D693FE}">
      <dgm:prSet/>
      <dgm:spPr/>
      <dgm:t>
        <a:bodyPr/>
        <a:lstStyle/>
        <a:p>
          <a:endParaRPr lang="en-US"/>
        </a:p>
      </dgm:t>
    </dgm:pt>
    <dgm:pt modelId="{5A449588-9A27-46AC-933F-0D284A255CE9}">
      <dgm:prSet custT="1"/>
      <dgm:spPr/>
      <dgm:t>
        <a:bodyPr/>
        <a:lstStyle/>
        <a:p>
          <a:r>
            <a:rPr lang="en-US" sz="2400" baseline="0"/>
            <a:t>Private or shared</a:t>
          </a:r>
          <a:endParaRPr lang="en-US" sz="2400"/>
        </a:p>
      </dgm:t>
    </dgm:pt>
    <dgm:pt modelId="{FA8AE126-D730-49FE-9A81-461B756BBCDD}" type="parTrans" cxnId="{2D30E45B-B0A7-4051-AECF-45F80B0EF5B2}">
      <dgm:prSet/>
      <dgm:spPr/>
      <dgm:t>
        <a:bodyPr/>
        <a:lstStyle/>
        <a:p>
          <a:endParaRPr lang="en-US"/>
        </a:p>
      </dgm:t>
    </dgm:pt>
    <dgm:pt modelId="{D05A8AEE-8808-482A-ACC5-74664CED6E58}" type="sibTrans" cxnId="{2D30E45B-B0A7-4051-AECF-45F80B0EF5B2}">
      <dgm:prSet/>
      <dgm:spPr/>
      <dgm:t>
        <a:bodyPr/>
        <a:lstStyle/>
        <a:p>
          <a:endParaRPr lang="en-US"/>
        </a:p>
      </dgm:t>
    </dgm:pt>
    <dgm:pt modelId="{2C327970-8850-410E-A46C-331E98152217}">
      <dgm:prSet custT="1"/>
      <dgm:spPr/>
      <dgm:t>
        <a:bodyPr/>
        <a:lstStyle/>
        <a:p>
          <a:r>
            <a:rPr lang="en-US" sz="2400" baseline="0"/>
            <a:t>Back-up or copy</a:t>
          </a:r>
          <a:endParaRPr lang="en-US" sz="2400"/>
        </a:p>
      </dgm:t>
    </dgm:pt>
    <dgm:pt modelId="{01107F4C-5D75-47D3-A5B1-D83350715F43}" type="parTrans" cxnId="{EB7618E6-88BF-46B3-ABB6-44D132EA284D}">
      <dgm:prSet/>
      <dgm:spPr/>
      <dgm:t>
        <a:bodyPr/>
        <a:lstStyle/>
        <a:p>
          <a:endParaRPr lang="en-US"/>
        </a:p>
      </dgm:t>
    </dgm:pt>
    <dgm:pt modelId="{B5A6FE90-4EFD-4F77-A0CF-979C4A6AC96B}" type="sibTrans" cxnId="{EB7618E6-88BF-46B3-ABB6-44D132EA284D}">
      <dgm:prSet/>
      <dgm:spPr/>
      <dgm:t>
        <a:bodyPr/>
        <a:lstStyle/>
        <a:p>
          <a:endParaRPr lang="en-US"/>
        </a:p>
      </dgm:t>
    </dgm:pt>
    <dgm:pt modelId="{D09A100C-A18B-4DCC-B351-88D52B445640}">
      <dgm:prSet/>
      <dgm:spPr/>
      <dgm:t>
        <a:bodyPr/>
        <a:lstStyle/>
        <a:p>
          <a:r>
            <a:rPr lang="en-US" baseline="0"/>
            <a:t>Download JSON – save for backup purposes</a:t>
          </a:r>
          <a:endParaRPr lang="en-US"/>
        </a:p>
      </dgm:t>
    </dgm:pt>
    <dgm:pt modelId="{39C43BDE-19FD-4EB5-A1D2-7BD470AC1D48}" type="parTrans" cxnId="{C1756A01-BB51-4411-A600-85A71AB46832}">
      <dgm:prSet/>
      <dgm:spPr/>
      <dgm:t>
        <a:bodyPr/>
        <a:lstStyle/>
        <a:p>
          <a:endParaRPr lang="en-US"/>
        </a:p>
      </dgm:t>
    </dgm:pt>
    <dgm:pt modelId="{3A590B0E-5C94-49F2-BA95-01EDC110B18C}" type="sibTrans" cxnId="{C1756A01-BB51-4411-A600-85A71AB46832}">
      <dgm:prSet/>
      <dgm:spPr/>
      <dgm:t>
        <a:bodyPr/>
        <a:lstStyle/>
        <a:p>
          <a:endParaRPr lang="en-US"/>
        </a:p>
      </dgm:t>
    </dgm:pt>
    <dgm:pt modelId="{025E4E1A-F4EC-4FF5-B75A-61AB50CF1787}">
      <dgm:prSet/>
      <dgm:spPr/>
      <dgm:t>
        <a:bodyPr/>
        <a:lstStyle/>
        <a:p>
          <a:r>
            <a:rPr lang="en-US" baseline="0"/>
            <a:t>Replace references from one server/database to the other</a:t>
          </a:r>
          <a:endParaRPr lang="en-US"/>
        </a:p>
      </dgm:t>
    </dgm:pt>
    <dgm:pt modelId="{B13F9310-66E9-49D0-8DD4-2BF9EA0F4D17}" type="parTrans" cxnId="{864D7D0F-4290-4F86-A4C5-3C3BF69737C8}">
      <dgm:prSet/>
      <dgm:spPr/>
      <dgm:t>
        <a:bodyPr/>
        <a:lstStyle/>
        <a:p>
          <a:endParaRPr lang="en-US"/>
        </a:p>
      </dgm:t>
    </dgm:pt>
    <dgm:pt modelId="{83628476-4FB9-4497-A76B-1904C4E404E4}" type="sibTrans" cxnId="{864D7D0F-4290-4F86-A4C5-3C3BF69737C8}">
      <dgm:prSet/>
      <dgm:spPr/>
      <dgm:t>
        <a:bodyPr/>
        <a:lstStyle/>
        <a:p>
          <a:endParaRPr lang="en-US"/>
        </a:p>
      </dgm:t>
    </dgm:pt>
    <dgm:pt modelId="{7971F7E3-4369-4906-AAA4-4384C7178959}">
      <dgm:prSet/>
      <dgm:spPr/>
      <dgm:t>
        <a:bodyPr/>
        <a:lstStyle/>
        <a:p>
          <a:r>
            <a:rPr lang="en-US" baseline="0"/>
            <a:t>Upload as new dashboard</a:t>
          </a:r>
          <a:endParaRPr lang="en-US"/>
        </a:p>
      </dgm:t>
    </dgm:pt>
    <dgm:pt modelId="{6E574A17-B175-47A8-872D-3160C83E7677}" type="parTrans" cxnId="{900B153C-A1AF-4434-B465-5A45C938EE7F}">
      <dgm:prSet/>
      <dgm:spPr/>
      <dgm:t>
        <a:bodyPr/>
        <a:lstStyle/>
        <a:p>
          <a:endParaRPr lang="en-US"/>
        </a:p>
      </dgm:t>
    </dgm:pt>
    <dgm:pt modelId="{259200DF-897E-4D54-89BB-119D9C40339D}" type="sibTrans" cxnId="{900B153C-A1AF-4434-B465-5A45C938EE7F}">
      <dgm:prSet/>
      <dgm:spPr/>
      <dgm:t>
        <a:bodyPr/>
        <a:lstStyle/>
        <a:p>
          <a:endParaRPr lang="en-US"/>
        </a:p>
      </dgm:t>
    </dgm:pt>
    <dgm:pt modelId="{5B4D4E75-5CC8-472E-A439-8A5040544AF8}" type="pres">
      <dgm:prSet presAssocID="{567FC218-FA99-44ED-BACD-CA75695A511B}" presName="linear" presStyleCnt="0">
        <dgm:presLayoutVars>
          <dgm:dir/>
          <dgm:animLvl val="lvl"/>
          <dgm:resizeHandles val="exact"/>
        </dgm:presLayoutVars>
      </dgm:prSet>
      <dgm:spPr/>
    </dgm:pt>
    <dgm:pt modelId="{E0930477-9867-44B8-919C-24E6CDB330FB}" type="pres">
      <dgm:prSet presAssocID="{FDB1FEE3-46E3-4774-AC93-2B12A2F5B1DA}" presName="parentLin" presStyleCnt="0"/>
      <dgm:spPr/>
    </dgm:pt>
    <dgm:pt modelId="{54118BF7-4A94-45C7-A1F0-DD985CD8BBEA}" type="pres">
      <dgm:prSet presAssocID="{FDB1FEE3-46E3-4774-AC93-2B12A2F5B1DA}" presName="parentLeftMargin" presStyleLbl="node1" presStyleIdx="0" presStyleCnt="4"/>
      <dgm:spPr/>
    </dgm:pt>
    <dgm:pt modelId="{0503A02E-5FEA-4B2B-A585-E6B0E09C813B}" type="pres">
      <dgm:prSet presAssocID="{FDB1FEE3-46E3-4774-AC93-2B12A2F5B1DA}" presName="parentText" presStyleLbl="node1" presStyleIdx="0" presStyleCnt="4">
        <dgm:presLayoutVars>
          <dgm:chMax val="0"/>
          <dgm:bulletEnabled val="1"/>
        </dgm:presLayoutVars>
      </dgm:prSet>
      <dgm:spPr/>
    </dgm:pt>
    <dgm:pt modelId="{A9A124E4-E2BB-4643-A9EC-98BD5495FAFE}" type="pres">
      <dgm:prSet presAssocID="{FDB1FEE3-46E3-4774-AC93-2B12A2F5B1DA}" presName="negativeSpace" presStyleCnt="0"/>
      <dgm:spPr/>
    </dgm:pt>
    <dgm:pt modelId="{B6349230-2313-45AF-81B1-C2AF503A5371}" type="pres">
      <dgm:prSet presAssocID="{FDB1FEE3-46E3-4774-AC93-2B12A2F5B1DA}" presName="childText" presStyleLbl="conFgAcc1" presStyleIdx="0" presStyleCnt="4">
        <dgm:presLayoutVars>
          <dgm:bulletEnabled val="1"/>
        </dgm:presLayoutVars>
      </dgm:prSet>
      <dgm:spPr/>
    </dgm:pt>
    <dgm:pt modelId="{0AA085E2-3400-4C09-8DDA-D505D74C4FC7}" type="pres">
      <dgm:prSet presAssocID="{BBF475A0-F70F-4A5E-A9A9-2F1E01CA410E}" presName="spaceBetweenRectangles" presStyleCnt="0"/>
      <dgm:spPr/>
    </dgm:pt>
    <dgm:pt modelId="{D6BEFA2F-9C25-4494-9444-9D7469B8C346}" type="pres">
      <dgm:prSet presAssocID="{DE0D0F4E-4D6A-4797-A0F8-D9AC53262211}" presName="parentLin" presStyleCnt="0"/>
      <dgm:spPr/>
    </dgm:pt>
    <dgm:pt modelId="{07637D73-267F-41FA-85AE-4D42203BB6AB}" type="pres">
      <dgm:prSet presAssocID="{DE0D0F4E-4D6A-4797-A0F8-D9AC53262211}" presName="parentLeftMargin" presStyleLbl="node1" presStyleIdx="0" presStyleCnt="4"/>
      <dgm:spPr/>
    </dgm:pt>
    <dgm:pt modelId="{572FD0F1-E10A-4611-B89E-82BF781D30EC}" type="pres">
      <dgm:prSet presAssocID="{DE0D0F4E-4D6A-4797-A0F8-D9AC53262211}" presName="parentText" presStyleLbl="node1" presStyleIdx="1" presStyleCnt="4">
        <dgm:presLayoutVars>
          <dgm:chMax val="0"/>
          <dgm:bulletEnabled val="1"/>
        </dgm:presLayoutVars>
      </dgm:prSet>
      <dgm:spPr/>
    </dgm:pt>
    <dgm:pt modelId="{1A8AD6CF-D54F-4A56-81BF-384B1CBAA253}" type="pres">
      <dgm:prSet presAssocID="{DE0D0F4E-4D6A-4797-A0F8-D9AC53262211}" presName="negativeSpace" presStyleCnt="0"/>
      <dgm:spPr/>
    </dgm:pt>
    <dgm:pt modelId="{5578B24C-2F28-4E2D-8F47-E81203706E5C}" type="pres">
      <dgm:prSet presAssocID="{DE0D0F4E-4D6A-4797-A0F8-D9AC53262211}" presName="childText" presStyleLbl="conFgAcc1" presStyleIdx="1" presStyleCnt="4">
        <dgm:presLayoutVars>
          <dgm:bulletEnabled val="1"/>
        </dgm:presLayoutVars>
      </dgm:prSet>
      <dgm:spPr/>
    </dgm:pt>
    <dgm:pt modelId="{6FD228E8-47A0-4675-B82F-4104AD3D4E09}" type="pres">
      <dgm:prSet presAssocID="{C80A6C4E-2893-4134-9104-24F1C9D3E094}" presName="spaceBetweenRectangles" presStyleCnt="0"/>
      <dgm:spPr/>
    </dgm:pt>
    <dgm:pt modelId="{FC320484-4EF2-4B09-9885-4966FECE6090}" type="pres">
      <dgm:prSet presAssocID="{5A449588-9A27-46AC-933F-0D284A255CE9}" presName="parentLin" presStyleCnt="0"/>
      <dgm:spPr/>
    </dgm:pt>
    <dgm:pt modelId="{1494101F-B94D-4C73-BB49-C9B0A8A2D532}" type="pres">
      <dgm:prSet presAssocID="{5A449588-9A27-46AC-933F-0D284A255CE9}" presName="parentLeftMargin" presStyleLbl="node1" presStyleIdx="1" presStyleCnt="4"/>
      <dgm:spPr/>
    </dgm:pt>
    <dgm:pt modelId="{1993639A-8217-4361-9C41-0C2F682E2B07}" type="pres">
      <dgm:prSet presAssocID="{5A449588-9A27-46AC-933F-0D284A255CE9}" presName="parentText" presStyleLbl="node1" presStyleIdx="2" presStyleCnt="4">
        <dgm:presLayoutVars>
          <dgm:chMax val="0"/>
          <dgm:bulletEnabled val="1"/>
        </dgm:presLayoutVars>
      </dgm:prSet>
      <dgm:spPr/>
    </dgm:pt>
    <dgm:pt modelId="{165F560C-64CE-4AFF-AA7A-18C0C4D2C1FC}" type="pres">
      <dgm:prSet presAssocID="{5A449588-9A27-46AC-933F-0D284A255CE9}" presName="negativeSpace" presStyleCnt="0"/>
      <dgm:spPr/>
    </dgm:pt>
    <dgm:pt modelId="{2C569307-1994-4D42-B431-6E2C13261F0A}" type="pres">
      <dgm:prSet presAssocID="{5A449588-9A27-46AC-933F-0D284A255CE9}" presName="childText" presStyleLbl="conFgAcc1" presStyleIdx="2" presStyleCnt="4">
        <dgm:presLayoutVars>
          <dgm:bulletEnabled val="1"/>
        </dgm:presLayoutVars>
      </dgm:prSet>
      <dgm:spPr/>
    </dgm:pt>
    <dgm:pt modelId="{F23B4B50-E2AE-483D-B50C-2CA29A2E004C}" type="pres">
      <dgm:prSet presAssocID="{D05A8AEE-8808-482A-ACC5-74664CED6E58}" presName="spaceBetweenRectangles" presStyleCnt="0"/>
      <dgm:spPr/>
    </dgm:pt>
    <dgm:pt modelId="{21C29E24-2471-455B-9A8D-72AEDF1E3E67}" type="pres">
      <dgm:prSet presAssocID="{2C327970-8850-410E-A46C-331E98152217}" presName="parentLin" presStyleCnt="0"/>
      <dgm:spPr/>
    </dgm:pt>
    <dgm:pt modelId="{11C0F2E0-C638-4590-958F-1CF04BAADF6F}" type="pres">
      <dgm:prSet presAssocID="{2C327970-8850-410E-A46C-331E98152217}" presName="parentLeftMargin" presStyleLbl="node1" presStyleIdx="2" presStyleCnt="4"/>
      <dgm:spPr/>
    </dgm:pt>
    <dgm:pt modelId="{09E63B06-7F12-4120-9380-278C60037885}" type="pres">
      <dgm:prSet presAssocID="{2C327970-8850-410E-A46C-331E98152217}" presName="parentText" presStyleLbl="node1" presStyleIdx="3" presStyleCnt="4">
        <dgm:presLayoutVars>
          <dgm:chMax val="0"/>
          <dgm:bulletEnabled val="1"/>
        </dgm:presLayoutVars>
      </dgm:prSet>
      <dgm:spPr/>
    </dgm:pt>
    <dgm:pt modelId="{651750F1-6117-4E65-9D2E-4283207B0B19}" type="pres">
      <dgm:prSet presAssocID="{2C327970-8850-410E-A46C-331E98152217}" presName="negativeSpace" presStyleCnt="0"/>
      <dgm:spPr/>
    </dgm:pt>
    <dgm:pt modelId="{2A93174C-7EA7-40BD-B27F-9D8CA23E163D}" type="pres">
      <dgm:prSet presAssocID="{2C327970-8850-410E-A46C-331E98152217}" presName="childText" presStyleLbl="conFgAcc1" presStyleIdx="3" presStyleCnt="4">
        <dgm:presLayoutVars>
          <dgm:bulletEnabled val="1"/>
        </dgm:presLayoutVars>
      </dgm:prSet>
      <dgm:spPr/>
    </dgm:pt>
  </dgm:ptLst>
  <dgm:cxnLst>
    <dgm:cxn modelId="{2C1D6100-BBA9-4BCA-9C96-A96654A5610D}" type="presOf" srcId="{C2D88445-FC24-4D87-AF20-6019793632C7}" destId="{5578B24C-2F28-4E2D-8F47-E81203706E5C}" srcOrd="0" destOrd="2" presId="urn:microsoft.com/office/officeart/2005/8/layout/list1"/>
    <dgm:cxn modelId="{C1756A01-BB51-4411-A600-85A71AB46832}" srcId="{2C327970-8850-410E-A46C-331E98152217}" destId="{D09A100C-A18B-4DCC-B351-88D52B445640}" srcOrd="0" destOrd="0" parTransId="{39C43BDE-19FD-4EB5-A1D2-7BD470AC1D48}" sibTransId="{3A590B0E-5C94-49F2-BA95-01EDC110B18C}"/>
    <dgm:cxn modelId="{864D7D0F-4290-4F86-A4C5-3C3BF69737C8}" srcId="{2C327970-8850-410E-A46C-331E98152217}" destId="{025E4E1A-F4EC-4FF5-B75A-61AB50CF1787}" srcOrd="1" destOrd="0" parTransId="{B13F9310-66E9-49D0-8DD4-2BF9EA0F4D17}" sibTransId="{83628476-4FB9-4497-A76B-1904C4E404E4}"/>
    <dgm:cxn modelId="{2FB71616-68AC-4273-9972-22311D474630}" srcId="{567FC218-FA99-44ED-BACD-CA75695A511B}" destId="{FDB1FEE3-46E3-4774-AC93-2B12A2F5B1DA}" srcOrd="0" destOrd="0" parTransId="{A13FE402-8292-421F-82BA-89074D730BDD}" sibTransId="{BBF475A0-F70F-4A5E-A9A9-2F1E01CA410E}"/>
    <dgm:cxn modelId="{F4D07717-57A5-411C-B3D5-D23AE1701C29}" type="presOf" srcId="{5A449588-9A27-46AC-933F-0D284A255CE9}" destId="{1993639A-8217-4361-9C41-0C2F682E2B07}" srcOrd="1" destOrd="0" presId="urn:microsoft.com/office/officeart/2005/8/layout/list1"/>
    <dgm:cxn modelId="{58D4EF26-4BE3-465E-AE3C-FA82F35517B5}" type="presOf" srcId="{FDB1FEE3-46E3-4774-AC93-2B12A2F5B1DA}" destId="{54118BF7-4A94-45C7-A1F0-DD985CD8BBEA}" srcOrd="0" destOrd="0" presId="urn:microsoft.com/office/officeart/2005/8/layout/list1"/>
    <dgm:cxn modelId="{900B153C-A1AF-4434-B465-5A45C938EE7F}" srcId="{2C327970-8850-410E-A46C-331E98152217}" destId="{7971F7E3-4369-4906-AAA4-4384C7178959}" srcOrd="2" destOrd="0" parTransId="{6E574A17-B175-47A8-872D-3160C83E7677}" sibTransId="{259200DF-897E-4D54-89BB-119D9C40339D}"/>
    <dgm:cxn modelId="{2D30E45B-B0A7-4051-AECF-45F80B0EF5B2}" srcId="{567FC218-FA99-44ED-BACD-CA75695A511B}" destId="{5A449588-9A27-46AC-933F-0D284A255CE9}" srcOrd="2" destOrd="0" parTransId="{FA8AE126-D730-49FE-9A81-461B756BBCDD}" sibTransId="{D05A8AEE-8808-482A-ACC5-74664CED6E58}"/>
    <dgm:cxn modelId="{7A5BD549-5B4D-4D3D-A6E7-27EE61693E61}" type="presOf" srcId="{D09A100C-A18B-4DCC-B351-88D52B445640}" destId="{2A93174C-7EA7-40BD-B27F-9D8CA23E163D}" srcOrd="0" destOrd="0" presId="urn:microsoft.com/office/officeart/2005/8/layout/list1"/>
    <dgm:cxn modelId="{7513FC50-7F29-4BB4-AA7A-8CCC415EB686}" srcId="{DE0D0F4E-4D6A-4797-A0F8-D9AC53262211}" destId="{C2D88445-FC24-4D87-AF20-6019793632C7}" srcOrd="2" destOrd="0" parTransId="{9C1C881A-D80B-48BB-81B7-9CF28FC8D897}" sibTransId="{27042163-8B20-4793-9B2C-7A8BC26B116A}"/>
    <dgm:cxn modelId="{B8BB6C51-0FBA-4713-8CF9-B2DCBF94E651}" type="presOf" srcId="{5A449588-9A27-46AC-933F-0D284A255CE9}" destId="{1494101F-B94D-4C73-BB49-C9B0A8A2D532}" srcOrd="0" destOrd="0" presId="urn:microsoft.com/office/officeart/2005/8/layout/list1"/>
    <dgm:cxn modelId="{090FD772-79F8-4343-8274-93DD66890B91}" type="presOf" srcId="{DE0D0F4E-4D6A-4797-A0F8-D9AC53262211}" destId="{572FD0F1-E10A-4611-B89E-82BF781D30EC}" srcOrd="1" destOrd="0" presId="urn:microsoft.com/office/officeart/2005/8/layout/list1"/>
    <dgm:cxn modelId="{93405055-637C-4D03-B118-66EDDCCA92B5}" type="presOf" srcId="{025E4E1A-F4EC-4FF5-B75A-61AB50CF1787}" destId="{2A93174C-7EA7-40BD-B27F-9D8CA23E163D}" srcOrd="0" destOrd="1" presId="urn:microsoft.com/office/officeart/2005/8/layout/list1"/>
    <dgm:cxn modelId="{DFFCBC75-DB4B-4C88-BBEE-54685BABC730}" type="presOf" srcId="{7971F7E3-4369-4906-AAA4-4384C7178959}" destId="{2A93174C-7EA7-40BD-B27F-9D8CA23E163D}" srcOrd="0" destOrd="2" presId="urn:microsoft.com/office/officeart/2005/8/layout/list1"/>
    <dgm:cxn modelId="{2F313F57-7708-4985-B3EB-7BC047D693FE}" srcId="{DE0D0F4E-4D6A-4797-A0F8-D9AC53262211}" destId="{2BEB751C-029F-478B-A433-12270BAE0294}" srcOrd="3" destOrd="0" parTransId="{9416DDB9-3C13-457A-8161-BD71C8747722}" sibTransId="{F5EE7803-DEAD-427C-9553-6A33DAE6A54D}"/>
    <dgm:cxn modelId="{A9D5AC91-4180-415F-B278-4AD35A177ADC}" type="presOf" srcId="{2BEB751C-029F-478B-A433-12270BAE0294}" destId="{5578B24C-2F28-4E2D-8F47-E81203706E5C}" srcOrd="0" destOrd="3" presId="urn:microsoft.com/office/officeart/2005/8/layout/list1"/>
    <dgm:cxn modelId="{C224DDA3-E14A-41F3-98FD-1E358BC5E288}" type="presOf" srcId="{2C327970-8850-410E-A46C-331E98152217}" destId="{09E63B06-7F12-4120-9380-278C60037885}" srcOrd="1" destOrd="0" presId="urn:microsoft.com/office/officeart/2005/8/layout/list1"/>
    <dgm:cxn modelId="{FABCB0B0-5D86-4594-B3CD-98C091473554}" type="presOf" srcId="{C1439C93-161F-4B60-BE0B-DE975CA8193E}" destId="{5578B24C-2F28-4E2D-8F47-E81203706E5C}" srcOrd="0" destOrd="0" presId="urn:microsoft.com/office/officeart/2005/8/layout/list1"/>
    <dgm:cxn modelId="{7B9174B6-11FA-4D91-AE23-46EA64E3FBB1}" type="presOf" srcId="{E02ABF5B-6FB0-46D1-96C6-029C60BCB4C4}" destId="{5578B24C-2F28-4E2D-8F47-E81203706E5C}" srcOrd="0" destOrd="1" presId="urn:microsoft.com/office/officeart/2005/8/layout/list1"/>
    <dgm:cxn modelId="{24DC9AC2-764A-4A0F-A50C-7661E01F2D1E}" type="presOf" srcId="{FDB1FEE3-46E3-4774-AC93-2B12A2F5B1DA}" destId="{0503A02E-5FEA-4B2B-A585-E6B0E09C813B}" srcOrd="1" destOrd="0" presId="urn:microsoft.com/office/officeart/2005/8/layout/list1"/>
    <dgm:cxn modelId="{A9ABDCCE-D315-46CC-B510-63541719D71B}" srcId="{DE0D0F4E-4D6A-4797-A0F8-D9AC53262211}" destId="{E02ABF5B-6FB0-46D1-96C6-029C60BCB4C4}" srcOrd="1" destOrd="0" parTransId="{A22DACCA-72FB-4D8D-ADD5-733D90F84EC2}" sibTransId="{DDBB9E1A-EF19-4A5D-A0BF-AF73F724D1E5}"/>
    <dgm:cxn modelId="{961EBFCF-1209-46BB-AAF1-C86A3C9ADBAA}" type="presOf" srcId="{DE0D0F4E-4D6A-4797-A0F8-D9AC53262211}" destId="{07637D73-267F-41FA-85AE-4D42203BB6AB}" srcOrd="0" destOrd="0" presId="urn:microsoft.com/office/officeart/2005/8/layout/list1"/>
    <dgm:cxn modelId="{27F6C1D3-0923-4242-BD04-149A0D538710}" type="presOf" srcId="{567FC218-FA99-44ED-BACD-CA75695A511B}" destId="{5B4D4E75-5CC8-472E-A439-8A5040544AF8}" srcOrd="0" destOrd="0" presId="urn:microsoft.com/office/officeart/2005/8/layout/list1"/>
    <dgm:cxn modelId="{C8DC34E0-7419-4B22-9909-A0B5C9505EF4}" srcId="{567FC218-FA99-44ED-BACD-CA75695A511B}" destId="{DE0D0F4E-4D6A-4797-A0F8-D9AC53262211}" srcOrd="1" destOrd="0" parTransId="{0819A93A-69A8-4A02-8B40-AFCB45057E29}" sibTransId="{C80A6C4E-2893-4134-9104-24F1C9D3E094}"/>
    <dgm:cxn modelId="{4C241BE1-F2F0-4585-934C-49047168172D}" type="presOf" srcId="{2C327970-8850-410E-A46C-331E98152217}" destId="{11C0F2E0-C638-4590-958F-1CF04BAADF6F}" srcOrd="0" destOrd="0" presId="urn:microsoft.com/office/officeart/2005/8/layout/list1"/>
    <dgm:cxn modelId="{F7D38AE3-EE9E-4B5F-9931-07DDC0C4C311}" srcId="{DE0D0F4E-4D6A-4797-A0F8-D9AC53262211}" destId="{C1439C93-161F-4B60-BE0B-DE975CA8193E}" srcOrd="0" destOrd="0" parTransId="{8B3728AA-2558-4B4C-955E-B1CC51267532}" sibTransId="{0113E692-4C89-4A83-A16E-295CD588C4A9}"/>
    <dgm:cxn modelId="{EB7618E6-88BF-46B3-ABB6-44D132EA284D}" srcId="{567FC218-FA99-44ED-BACD-CA75695A511B}" destId="{2C327970-8850-410E-A46C-331E98152217}" srcOrd="3" destOrd="0" parTransId="{01107F4C-5D75-47D3-A5B1-D83350715F43}" sibTransId="{B5A6FE90-4EFD-4F77-A0CF-979C4A6AC96B}"/>
    <dgm:cxn modelId="{8D1E032F-69BC-4EF0-B8D2-628FEDFDCB03}" type="presParOf" srcId="{5B4D4E75-5CC8-472E-A439-8A5040544AF8}" destId="{E0930477-9867-44B8-919C-24E6CDB330FB}" srcOrd="0" destOrd="0" presId="urn:microsoft.com/office/officeart/2005/8/layout/list1"/>
    <dgm:cxn modelId="{BF35EEBD-68D7-45DB-BF43-2C111A31DA99}" type="presParOf" srcId="{E0930477-9867-44B8-919C-24E6CDB330FB}" destId="{54118BF7-4A94-45C7-A1F0-DD985CD8BBEA}" srcOrd="0" destOrd="0" presId="urn:microsoft.com/office/officeart/2005/8/layout/list1"/>
    <dgm:cxn modelId="{3668658C-7ED4-4D07-A1B1-00AB447045E5}" type="presParOf" srcId="{E0930477-9867-44B8-919C-24E6CDB330FB}" destId="{0503A02E-5FEA-4B2B-A585-E6B0E09C813B}" srcOrd="1" destOrd="0" presId="urn:microsoft.com/office/officeart/2005/8/layout/list1"/>
    <dgm:cxn modelId="{6CF98016-C027-427D-84CD-DC3823A57120}" type="presParOf" srcId="{5B4D4E75-5CC8-472E-A439-8A5040544AF8}" destId="{A9A124E4-E2BB-4643-A9EC-98BD5495FAFE}" srcOrd="1" destOrd="0" presId="urn:microsoft.com/office/officeart/2005/8/layout/list1"/>
    <dgm:cxn modelId="{76E05951-BCBA-4582-99D7-B7FD86211471}" type="presParOf" srcId="{5B4D4E75-5CC8-472E-A439-8A5040544AF8}" destId="{B6349230-2313-45AF-81B1-C2AF503A5371}" srcOrd="2" destOrd="0" presId="urn:microsoft.com/office/officeart/2005/8/layout/list1"/>
    <dgm:cxn modelId="{47F81599-1133-4E5E-8A43-B50E538D7066}" type="presParOf" srcId="{5B4D4E75-5CC8-472E-A439-8A5040544AF8}" destId="{0AA085E2-3400-4C09-8DDA-D505D74C4FC7}" srcOrd="3" destOrd="0" presId="urn:microsoft.com/office/officeart/2005/8/layout/list1"/>
    <dgm:cxn modelId="{BAEEB362-C20E-4B86-A09D-0A2423326A8D}" type="presParOf" srcId="{5B4D4E75-5CC8-472E-A439-8A5040544AF8}" destId="{D6BEFA2F-9C25-4494-9444-9D7469B8C346}" srcOrd="4" destOrd="0" presId="urn:microsoft.com/office/officeart/2005/8/layout/list1"/>
    <dgm:cxn modelId="{A340B3E4-269E-4669-976F-261DE1F83EE9}" type="presParOf" srcId="{D6BEFA2F-9C25-4494-9444-9D7469B8C346}" destId="{07637D73-267F-41FA-85AE-4D42203BB6AB}" srcOrd="0" destOrd="0" presId="urn:microsoft.com/office/officeart/2005/8/layout/list1"/>
    <dgm:cxn modelId="{D0D0BD3D-7903-4B84-80CA-CF05F021F07A}" type="presParOf" srcId="{D6BEFA2F-9C25-4494-9444-9D7469B8C346}" destId="{572FD0F1-E10A-4611-B89E-82BF781D30EC}" srcOrd="1" destOrd="0" presId="urn:microsoft.com/office/officeart/2005/8/layout/list1"/>
    <dgm:cxn modelId="{A0E0D179-9BC0-474F-AED6-4304E077201C}" type="presParOf" srcId="{5B4D4E75-5CC8-472E-A439-8A5040544AF8}" destId="{1A8AD6CF-D54F-4A56-81BF-384B1CBAA253}" srcOrd="5" destOrd="0" presId="urn:microsoft.com/office/officeart/2005/8/layout/list1"/>
    <dgm:cxn modelId="{6B7B9F21-865B-49D6-9864-959FE8CCDD45}" type="presParOf" srcId="{5B4D4E75-5CC8-472E-A439-8A5040544AF8}" destId="{5578B24C-2F28-4E2D-8F47-E81203706E5C}" srcOrd="6" destOrd="0" presId="urn:microsoft.com/office/officeart/2005/8/layout/list1"/>
    <dgm:cxn modelId="{3B1BA745-0E02-40A3-B8B6-AA466BE7B068}" type="presParOf" srcId="{5B4D4E75-5CC8-472E-A439-8A5040544AF8}" destId="{6FD228E8-47A0-4675-B82F-4104AD3D4E09}" srcOrd="7" destOrd="0" presId="urn:microsoft.com/office/officeart/2005/8/layout/list1"/>
    <dgm:cxn modelId="{35B5A9C3-7908-44E6-9833-AD44145EFA7C}" type="presParOf" srcId="{5B4D4E75-5CC8-472E-A439-8A5040544AF8}" destId="{FC320484-4EF2-4B09-9885-4966FECE6090}" srcOrd="8" destOrd="0" presId="urn:microsoft.com/office/officeart/2005/8/layout/list1"/>
    <dgm:cxn modelId="{F42B928F-2A1C-4327-B5FB-F5FA9DC8FDA1}" type="presParOf" srcId="{FC320484-4EF2-4B09-9885-4966FECE6090}" destId="{1494101F-B94D-4C73-BB49-C9B0A8A2D532}" srcOrd="0" destOrd="0" presId="urn:microsoft.com/office/officeart/2005/8/layout/list1"/>
    <dgm:cxn modelId="{20956C0F-66DC-4FE1-8871-EBEFFDF3600A}" type="presParOf" srcId="{FC320484-4EF2-4B09-9885-4966FECE6090}" destId="{1993639A-8217-4361-9C41-0C2F682E2B07}" srcOrd="1" destOrd="0" presId="urn:microsoft.com/office/officeart/2005/8/layout/list1"/>
    <dgm:cxn modelId="{DEC2F54C-4CD0-40A4-8532-B38DC94037E2}" type="presParOf" srcId="{5B4D4E75-5CC8-472E-A439-8A5040544AF8}" destId="{165F560C-64CE-4AFF-AA7A-18C0C4D2C1FC}" srcOrd="9" destOrd="0" presId="urn:microsoft.com/office/officeart/2005/8/layout/list1"/>
    <dgm:cxn modelId="{BEFF7416-F448-446B-A27D-545451809992}" type="presParOf" srcId="{5B4D4E75-5CC8-472E-A439-8A5040544AF8}" destId="{2C569307-1994-4D42-B431-6E2C13261F0A}" srcOrd="10" destOrd="0" presId="urn:microsoft.com/office/officeart/2005/8/layout/list1"/>
    <dgm:cxn modelId="{40BF3F8A-6E6F-4700-B01A-0955E072A78D}" type="presParOf" srcId="{5B4D4E75-5CC8-472E-A439-8A5040544AF8}" destId="{F23B4B50-E2AE-483D-B50C-2CA29A2E004C}" srcOrd="11" destOrd="0" presId="urn:microsoft.com/office/officeart/2005/8/layout/list1"/>
    <dgm:cxn modelId="{9FADF738-CE40-49E1-80D4-A6AFA81E158B}" type="presParOf" srcId="{5B4D4E75-5CC8-472E-A439-8A5040544AF8}" destId="{21C29E24-2471-455B-9A8D-72AEDF1E3E67}" srcOrd="12" destOrd="0" presId="urn:microsoft.com/office/officeart/2005/8/layout/list1"/>
    <dgm:cxn modelId="{EA3E966C-4536-4672-810A-CE22DBB4001F}" type="presParOf" srcId="{21C29E24-2471-455B-9A8D-72AEDF1E3E67}" destId="{11C0F2E0-C638-4590-958F-1CF04BAADF6F}" srcOrd="0" destOrd="0" presId="urn:microsoft.com/office/officeart/2005/8/layout/list1"/>
    <dgm:cxn modelId="{FD4A8CFA-1392-46BF-A133-6A6809341991}" type="presParOf" srcId="{21C29E24-2471-455B-9A8D-72AEDF1E3E67}" destId="{09E63B06-7F12-4120-9380-278C60037885}" srcOrd="1" destOrd="0" presId="urn:microsoft.com/office/officeart/2005/8/layout/list1"/>
    <dgm:cxn modelId="{B42FE24E-887B-41D3-AE39-11C4B47C30D7}" type="presParOf" srcId="{5B4D4E75-5CC8-472E-A439-8A5040544AF8}" destId="{651750F1-6117-4E65-9D2E-4283207B0B19}" srcOrd="13" destOrd="0" presId="urn:microsoft.com/office/officeart/2005/8/layout/list1"/>
    <dgm:cxn modelId="{53B5F2BC-0F76-46DE-8FC0-5FBED109F987}" type="presParOf" srcId="{5B4D4E75-5CC8-472E-A439-8A5040544AF8}" destId="{2A93174C-7EA7-40BD-B27F-9D8CA23E163D}"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C22A0FF-D522-463C-ACB8-6FC88DA330BE}" type="doc">
      <dgm:prSet loTypeId="urn:microsoft.com/office/officeart/2005/8/layout/list1" loCatId="list" qsTypeId="urn:microsoft.com/office/officeart/2005/8/quickstyle/simple1" qsCatId="simple" csTypeId="urn:microsoft.com/office/officeart/2005/8/colors/colorful2" csCatId="colorful"/>
      <dgm:spPr/>
      <dgm:t>
        <a:bodyPr/>
        <a:lstStyle/>
        <a:p>
          <a:endParaRPr lang="en-US"/>
        </a:p>
      </dgm:t>
    </dgm:pt>
    <dgm:pt modelId="{930CD3AE-137A-43F4-83E4-57E78686D231}">
      <dgm:prSet custT="1"/>
      <dgm:spPr/>
      <dgm:t>
        <a:bodyPr/>
        <a:lstStyle/>
        <a:p>
          <a:r>
            <a:rPr lang="en-US" sz="2000" baseline="0"/>
            <a:t>Append-only log data</a:t>
          </a:r>
          <a:endParaRPr lang="en-US" sz="2000"/>
        </a:p>
      </dgm:t>
    </dgm:pt>
    <dgm:pt modelId="{1CE8F09A-F193-4813-8892-221EE93CE322}" type="parTrans" cxnId="{57D520E7-283B-4D19-A877-3F5F29E02723}">
      <dgm:prSet/>
      <dgm:spPr/>
      <dgm:t>
        <a:bodyPr/>
        <a:lstStyle/>
        <a:p>
          <a:endParaRPr lang="en-US"/>
        </a:p>
      </dgm:t>
    </dgm:pt>
    <dgm:pt modelId="{00EA72C4-20AC-491F-BD04-0A4850E84F9A}" type="sibTrans" cxnId="{57D520E7-283B-4D19-A877-3F5F29E02723}">
      <dgm:prSet/>
      <dgm:spPr/>
      <dgm:t>
        <a:bodyPr/>
        <a:lstStyle/>
        <a:p>
          <a:endParaRPr lang="en-US"/>
        </a:p>
      </dgm:t>
    </dgm:pt>
    <dgm:pt modelId="{A888F086-ED63-4570-A709-3DB17A714F98}">
      <dgm:prSet custT="1"/>
      <dgm:spPr/>
      <dgm:t>
        <a:bodyPr/>
        <a:lstStyle/>
        <a:p>
          <a:r>
            <a:rPr lang="en-US" sz="2000" baseline="0" dirty="0"/>
            <a:t>Queried using Kusto Query Language (KQL)</a:t>
          </a:r>
          <a:endParaRPr lang="en-US" sz="2000" dirty="0"/>
        </a:p>
      </dgm:t>
    </dgm:pt>
    <dgm:pt modelId="{F7E12FBB-933F-40E5-813A-4AE5CB1D9CB4}" type="parTrans" cxnId="{30125D74-0E31-403F-887C-A805033F2B46}">
      <dgm:prSet/>
      <dgm:spPr/>
      <dgm:t>
        <a:bodyPr/>
        <a:lstStyle/>
        <a:p>
          <a:endParaRPr lang="en-US"/>
        </a:p>
      </dgm:t>
    </dgm:pt>
    <dgm:pt modelId="{E959E644-B942-40C3-8B63-EA7F18DE3A24}" type="sibTrans" cxnId="{30125D74-0E31-403F-887C-A805033F2B46}">
      <dgm:prSet/>
      <dgm:spPr/>
      <dgm:t>
        <a:bodyPr/>
        <a:lstStyle/>
        <a:p>
          <a:endParaRPr lang="en-US"/>
        </a:p>
      </dgm:t>
    </dgm:pt>
    <dgm:pt modelId="{40BB254F-0764-4660-80D4-10BFADCB3F99}">
      <dgm:prSet/>
      <dgm:spPr/>
      <dgm:t>
        <a:bodyPr/>
        <a:lstStyle/>
        <a:p>
          <a:r>
            <a:rPr lang="en-US" baseline="0"/>
            <a:t>SQL-Like language</a:t>
          </a:r>
          <a:endParaRPr lang="en-US"/>
        </a:p>
      </dgm:t>
    </dgm:pt>
    <dgm:pt modelId="{1939ABE9-3ED2-4CE0-BD6A-3418FBC4DD09}" type="parTrans" cxnId="{18630559-06D7-4F84-990D-80EB4B44DFC9}">
      <dgm:prSet/>
      <dgm:spPr/>
      <dgm:t>
        <a:bodyPr/>
        <a:lstStyle/>
        <a:p>
          <a:endParaRPr lang="en-US"/>
        </a:p>
      </dgm:t>
    </dgm:pt>
    <dgm:pt modelId="{6C79451F-DC7D-47E1-8B38-1252B057D0A4}" type="sibTrans" cxnId="{18630559-06D7-4F84-990D-80EB4B44DFC9}">
      <dgm:prSet/>
      <dgm:spPr/>
      <dgm:t>
        <a:bodyPr/>
        <a:lstStyle/>
        <a:p>
          <a:endParaRPr lang="en-US"/>
        </a:p>
      </dgm:t>
    </dgm:pt>
    <dgm:pt modelId="{C3AF99ED-9CF3-47AE-B159-1C8A0FF85642}">
      <dgm:prSet custT="1"/>
      <dgm:spPr/>
      <dgm:t>
        <a:bodyPr/>
        <a:lstStyle/>
        <a:p>
          <a:r>
            <a:rPr lang="en-US" sz="2000" baseline="0"/>
            <a:t>Cost</a:t>
          </a:r>
          <a:endParaRPr lang="en-US" sz="2000"/>
        </a:p>
      </dgm:t>
    </dgm:pt>
    <dgm:pt modelId="{17BE86A5-2601-4032-9BB2-3DF106351A4F}" type="parTrans" cxnId="{3CE9E4CF-1F54-47C1-9902-ED4FC0B1C749}">
      <dgm:prSet/>
      <dgm:spPr/>
      <dgm:t>
        <a:bodyPr/>
        <a:lstStyle/>
        <a:p>
          <a:endParaRPr lang="en-US"/>
        </a:p>
      </dgm:t>
    </dgm:pt>
    <dgm:pt modelId="{AE00B771-18F0-4452-BEB8-DC39374C4668}" type="sibTrans" cxnId="{3CE9E4CF-1F54-47C1-9902-ED4FC0B1C749}">
      <dgm:prSet/>
      <dgm:spPr/>
      <dgm:t>
        <a:bodyPr/>
        <a:lstStyle/>
        <a:p>
          <a:endParaRPr lang="en-US"/>
        </a:p>
      </dgm:t>
    </dgm:pt>
    <dgm:pt modelId="{68236725-6001-4582-AFDC-10D417A83798}">
      <dgm:prSet/>
      <dgm:spPr/>
      <dgm:t>
        <a:bodyPr/>
        <a:lstStyle/>
        <a:p>
          <a:r>
            <a:rPr lang="en-US" baseline="0"/>
            <a:t>Pay-by-ingestion</a:t>
          </a:r>
          <a:endParaRPr lang="en-US"/>
        </a:p>
      </dgm:t>
    </dgm:pt>
    <dgm:pt modelId="{F1D40569-3C58-4F1F-898F-30C6FCC60BD6}" type="parTrans" cxnId="{86470EED-FB7E-43E9-85F0-4D7FBE673E29}">
      <dgm:prSet/>
      <dgm:spPr/>
      <dgm:t>
        <a:bodyPr/>
        <a:lstStyle/>
        <a:p>
          <a:endParaRPr lang="en-US"/>
        </a:p>
      </dgm:t>
    </dgm:pt>
    <dgm:pt modelId="{DA758E14-3803-495F-B6B8-8E6A7B1D2348}" type="sibTrans" cxnId="{86470EED-FB7E-43E9-85F0-4D7FBE673E29}">
      <dgm:prSet/>
      <dgm:spPr/>
      <dgm:t>
        <a:bodyPr/>
        <a:lstStyle/>
        <a:p>
          <a:endParaRPr lang="en-US"/>
        </a:p>
      </dgm:t>
    </dgm:pt>
    <dgm:pt modelId="{9780791A-7038-4370-B200-5551E83A7654}">
      <dgm:prSet/>
      <dgm:spPr/>
      <dgm:t>
        <a:bodyPr/>
        <a:lstStyle/>
        <a:p>
          <a:r>
            <a:rPr lang="en-US" baseline="0" dirty="0"/>
            <a:t>Minimize cost by only pulling over needed metrics</a:t>
          </a:r>
          <a:endParaRPr lang="en-US" dirty="0"/>
        </a:p>
      </dgm:t>
    </dgm:pt>
    <dgm:pt modelId="{F6032802-715D-429B-A643-897E60F50DB6}" type="parTrans" cxnId="{2E4C5246-9733-4EAA-8BAC-D400357EB177}">
      <dgm:prSet/>
      <dgm:spPr/>
      <dgm:t>
        <a:bodyPr/>
        <a:lstStyle/>
        <a:p>
          <a:endParaRPr lang="en-US"/>
        </a:p>
      </dgm:t>
    </dgm:pt>
    <dgm:pt modelId="{2D4600CC-DFBF-4723-A06D-E2E015D41846}" type="sibTrans" cxnId="{2E4C5246-9733-4EAA-8BAC-D400357EB177}">
      <dgm:prSet/>
      <dgm:spPr/>
      <dgm:t>
        <a:bodyPr/>
        <a:lstStyle/>
        <a:p>
          <a:endParaRPr lang="en-US"/>
        </a:p>
      </dgm:t>
    </dgm:pt>
    <dgm:pt modelId="{3F73BACA-528C-4462-BCAA-D54F6B924EFE}">
      <dgm:prSet custT="1"/>
      <dgm:spPr/>
      <dgm:t>
        <a:bodyPr/>
        <a:lstStyle/>
        <a:p>
          <a:r>
            <a:rPr lang="en-US" sz="2000" baseline="0"/>
            <a:t>Latency</a:t>
          </a:r>
          <a:endParaRPr lang="en-US" sz="2000"/>
        </a:p>
      </dgm:t>
    </dgm:pt>
    <dgm:pt modelId="{F0DFDAAE-9CC8-4D3F-BBCA-249315F2780C}" type="parTrans" cxnId="{EBE9AE15-69EE-4BCA-9C46-51B12C746264}">
      <dgm:prSet/>
      <dgm:spPr/>
      <dgm:t>
        <a:bodyPr/>
        <a:lstStyle/>
        <a:p>
          <a:endParaRPr lang="en-US"/>
        </a:p>
      </dgm:t>
    </dgm:pt>
    <dgm:pt modelId="{E6450657-6043-48BC-800C-A6F5BF06C326}" type="sibTrans" cxnId="{EBE9AE15-69EE-4BCA-9C46-51B12C746264}">
      <dgm:prSet/>
      <dgm:spPr/>
      <dgm:t>
        <a:bodyPr/>
        <a:lstStyle/>
        <a:p>
          <a:endParaRPr lang="en-US"/>
        </a:p>
      </dgm:t>
    </dgm:pt>
    <dgm:pt modelId="{EF5EB75E-CC99-4F0F-8939-F4C40DB114C4}">
      <dgm:prSet/>
      <dgm:spPr/>
      <dgm:t>
        <a:bodyPr/>
        <a:lstStyle/>
        <a:p>
          <a:r>
            <a:rPr lang="en-US" baseline="0"/>
            <a:t>10-15 minutes max latency</a:t>
          </a:r>
          <a:endParaRPr lang="en-US"/>
        </a:p>
      </dgm:t>
    </dgm:pt>
    <dgm:pt modelId="{1978DD8B-1112-4951-902D-75D6745FFF7B}" type="parTrans" cxnId="{BD2F640A-F39A-4BA1-B465-0A4026DA7809}">
      <dgm:prSet/>
      <dgm:spPr/>
      <dgm:t>
        <a:bodyPr/>
        <a:lstStyle/>
        <a:p>
          <a:endParaRPr lang="en-US"/>
        </a:p>
      </dgm:t>
    </dgm:pt>
    <dgm:pt modelId="{4F31EE14-134D-4D7A-B536-D0224AEADCB7}" type="sibTrans" cxnId="{BD2F640A-F39A-4BA1-B465-0A4026DA7809}">
      <dgm:prSet/>
      <dgm:spPr/>
      <dgm:t>
        <a:bodyPr/>
        <a:lstStyle/>
        <a:p>
          <a:endParaRPr lang="en-US"/>
        </a:p>
      </dgm:t>
    </dgm:pt>
    <dgm:pt modelId="{D9064E83-2780-43EF-9A06-425A06BC94C8}" type="pres">
      <dgm:prSet presAssocID="{1C22A0FF-D522-463C-ACB8-6FC88DA330BE}" presName="linear" presStyleCnt="0">
        <dgm:presLayoutVars>
          <dgm:dir/>
          <dgm:animLvl val="lvl"/>
          <dgm:resizeHandles val="exact"/>
        </dgm:presLayoutVars>
      </dgm:prSet>
      <dgm:spPr/>
    </dgm:pt>
    <dgm:pt modelId="{84E9D67B-9FC5-4BF1-9004-0449CC45B222}" type="pres">
      <dgm:prSet presAssocID="{930CD3AE-137A-43F4-83E4-57E78686D231}" presName="parentLin" presStyleCnt="0"/>
      <dgm:spPr/>
    </dgm:pt>
    <dgm:pt modelId="{1EC57E3D-6B85-49B1-898D-C98753FF8921}" type="pres">
      <dgm:prSet presAssocID="{930CD3AE-137A-43F4-83E4-57E78686D231}" presName="parentLeftMargin" presStyleLbl="node1" presStyleIdx="0" presStyleCnt="4"/>
      <dgm:spPr/>
    </dgm:pt>
    <dgm:pt modelId="{24652A6A-0D82-4255-83DD-407C1A5FE4B9}" type="pres">
      <dgm:prSet presAssocID="{930CD3AE-137A-43F4-83E4-57E78686D231}" presName="parentText" presStyleLbl="node1" presStyleIdx="0" presStyleCnt="4">
        <dgm:presLayoutVars>
          <dgm:chMax val="0"/>
          <dgm:bulletEnabled val="1"/>
        </dgm:presLayoutVars>
      </dgm:prSet>
      <dgm:spPr/>
    </dgm:pt>
    <dgm:pt modelId="{09E60960-D77F-4948-8F01-96321AB1DE8B}" type="pres">
      <dgm:prSet presAssocID="{930CD3AE-137A-43F4-83E4-57E78686D231}" presName="negativeSpace" presStyleCnt="0"/>
      <dgm:spPr/>
    </dgm:pt>
    <dgm:pt modelId="{A742891A-472D-4721-9991-0B11C540B3B7}" type="pres">
      <dgm:prSet presAssocID="{930CD3AE-137A-43F4-83E4-57E78686D231}" presName="childText" presStyleLbl="conFgAcc1" presStyleIdx="0" presStyleCnt="4">
        <dgm:presLayoutVars>
          <dgm:bulletEnabled val="1"/>
        </dgm:presLayoutVars>
      </dgm:prSet>
      <dgm:spPr/>
    </dgm:pt>
    <dgm:pt modelId="{4574D4C5-2E1A-4548-A009-00A918633E37}" type="pres">
      <dgm:prSet presAssocID="{00EA72C4-20AC-491F-BD04-0A4850E84F9A}" presName="spaceBetweenRectangles" presStyleCnt="0"/>
      <dgm:spPr/>
    </dgm:pt>
    <dgm:pt modelId="{2ED63FA9-5FAF-47B5-B8BA-872864D1A34E}" type="pres">
      <dgm:prSet presAssocID="{A888F086-ED63-4570-A709-3DB17A714F98}" presName="parentLin" presStyleCnt="0"/>
      <dgm:spPr/>
    </dgm:pt>
    <dgm:pt modelId="{06E999EF-E744-4685-BAA0-3121CD717A36}" type="pres">
      <dgm:prSet presAssocID="{A888F086-ED63-4570-A709-3DB17A714F98}" presName="parentLeftMargin" presStyleLbl="node1" presStyleIdx="0" presStyleCnt="4"/>
      <dgm:spPr/>
    </dgm:pt>
    <dgm:pt modelId="{0D78B05D-CFCC-44E8-BB24-CA4A39117823}" type="pres">
      <dgm:prSet presAssocID="{A888F086-ED63-4570-A709-3DB17A714F98}" presName="parentText" presStyleLbl="node1" presStyleIdx="1" presStyleCnt="4">
        <dgm:presLayoutVars>
          <dgm:chMax val="0"/>
          <dgm:bulletEnabled val="1"/>
        </dgm:presLayoutVars>
      </dgm:prSet>
      <dgm:spPr/>
    </dgm:pt>
    <dgm:pt modelId="{35D740C4-3FD0-4A96-82CC-1304A8B3A169}" type="pres">
      <dgm:prSet presAssocID="{A888F086-ED63-4570-A709-3DB17A714F98}" presName="negativeSpace" presStyleCnt="0"/>
      <dgm:spPr/>
    </dgm:pt>
    <dgm:pt modelId="{CB134718-C98F-4058-B691-9C36E36B0687}" type="pres">
      <dgm:prSet presAssocID="{A888F086-ED63-4570-A709-3DB17A714F98}" presName="childText" presStyleLbl="conFgAcc1" presStyleIdx="1" presStyleCnt="4">
        <dgm:presLayoutVars>
          <dgm:bulletEnabled val="1"/>
        </dgm:presLayoutVars>
      </dgm:prSet>
      <dgm:spPr/>
    </dgm:pt>
    <dgm:pt modelId="{0AF4F2FA-5DC2-4362-B51D-B92B2BFC72FE}" type="pres">
      <dgm:prSet presAssocID="{E959E644-B942-40C3-8B63-EA7F18DE3A24}" presName="spaceBetweenRectangles" presStyleCnt="0"/>
      <dgm:spPr/>
    </dgm:pt>
    <dgm:pt modelId="{EE62CBEF-8485-42DB-B659-28CC35513069}" type="pres">
      <dgm:prSet presAssocID="{C3AF99ED-9CF3-47AE-B159-1C8A0FF85642}" presName="parentLin" presStyleCnt="0"/>
      <dgm:spPr/>
    </dgm:pt>
    <dgm:pt modelId="{982EEB06-085E-4DC8-9796-535E64067DE2}" type="pres">
      <dgm:prSet presAssocID="{C3AF99ED-9CF3-47AE-B159-1C8A0FF85642}" presName="parentLeftMargin" presStyleLbl="node1" presStyleIdx="1" presStyleCnt="4"/>
      <dgm:spPr/>
    </dgm:pt>
    <dgm:pt modelId="{97B8B39D-A40B-4723-A32E-FBEC3624AF1E}" type="pres">
      <dgm:prSet presAssocID="{C3AF99ED-9CF3-47AE-B159-1C8A0FF85642}" presName="parentText" presStyleLbl="node1" presStyleIdx="2" presStyleCnt="4">
        <dgm:presLayoutVars>
          <dgm:chMax val="0"/>
          <dgm:bulletEnabled val="1"/>
        </dgm:presLayoutVars>
      </dgm:prSet>
      <dgm:spPr/>
    </dgm:pt>
    <dgm:pt modelId="{5391A921-FE55-44D2-868A-6F7FB9CFE56B}" type="pres">
      <dgm:prSet presAssocID="{C3AF99ED-9CF3-47AE-B159-1C8A0FF85642}" presName="negativeSpace" presStyleCnt="0"/>
      <dgm:spPr/>
    </dgm:pt>
    <dgm:pt modelId="{70CB5B88-B176-4B68-8EA3-2590F48FCC40}" type="pres">
      <dgm:prSet presAssocID="{C3AF99ED-9CF3-47AE-B159-1C8A0FF85642}" presName="childText" presStyleLbl="conFgAcc1" presStyleIdx="2" presStyleCnt="4">
        <dgm:presLayoutVars>
          <dgm:bulletEnabled val="1"/>
        </dgm:presLayoutVars>
      </dgm:prSet>
      <dgm:spPr/>
    </dgm:pt>
    <dgm:pt modelId="{CABD8F43-406F-499A-AE64-2E5C8E5EFC3E}" type="pres">
      <dgm:prSet presAssocID="{AE00B771-18F0-4452-BEB8-DC39374C4668}" presName="spaceBetweenRectangles" presStyleCnt="0"/>
      <dgm:spPr/>
    </dgm:pt>
    <dgm:pt modelId="{9949135F-E3D7-4D6D-B166-61459E3A4CC0}" type="pres">
      <dgm:prSet presAssocID="{3F73BACA-528C-4462-BCAA-D54F6B924EFE}" presName="parentLin" presStyleCnt="0"/>
      <dgm:spPr/>
    </dgm:pt>
    <dgm:pt modelId="{36384ECF-9D8F-43AB-A218-3A60C8C7643A}" type="pres">
      <dgm:prSet presAssocID="{3F73BACA-528C-4462-BCAA-D54F6B924EFE}" presName="parentLeftMargin" presStyleLbl="node1" presStyleIdx="2" presStyleCnt="4"/>
      <dgm:spPr/>
    </dgm:pt>
    <dgm:pt modelId="{35F630BF-532D-4D1F-8C85-10A208E50F6B}" type="pres">
      <dgm:prSet presAssocID="{3F73BACA-528C-4462-BCAA-D54F6B924EFE}" presName="parentText" presStyleLbl="node1" presStyleIdx="3" presStyleCnt="4">
        <dgm:presLayoutVars>
          <dgm:chMax val="0"/>
          <dgm:bulletEnabled val="1"/>
        </dgm:presLayoutVars>
      </dgm:prSet>
      <dgm:spPr/>
    </dgm:pt>
    <dgm:pt modelId="{70576234-4329-4826-A8E2-746E50A634C6}" type="pres">
      <dgm:prSet presAssocID="{3F73BACA-528C-4462-BCAA-D54F6B924EFE}" presName="negativeSpace" presStyleCnt="0"/>
      <dgm:spPr/>
    </dgm:pt>
    <dgm:pt modelId="{0D59AE30-8E8D-41FA-AE15-362573A12D21}" type="pres">
      <dgm:prSet presAssocID="{3F73BACA-528C-4462-BCAA-D54F6B924EFE}" presName="childText" presStyleLbl="conFgAcc1" presStyleIdx="3" presStyleCnt="4">
        <dgm:presLayoutVars>
          <dgm:bulletEnabled val="1"/>
        </dgm:presLayoutVars>
      </dgm:prSet>
      <dgm:spPr/>
    </dgm:pt>
  </dgm:ptLst>
  <dgm:cxnLst>
    <dgm:cxn modelId="{AE275E02-4E7C-4EE2-91E4-F1632EDA819A}" type="presOf" srcId="{C3AF99ED-9CF3-47AE-B159-1C8A0FF85642}" destId="{97B8B39D-A40B-4723-A32E-FBEC3624AF1E}" srcOrd="1" destOrd="0" presId="urn:microsoft.com/office/officeart/2005/8/layout/list1"/>
    <dgm:cxn modelId="{BD2F640A-F39A-4BA1-B465-0A4026DA7809}" srcId="{3F73BACA-528C-4462-BCAA-D54F6B924EFE}" destId="{EF5EB75E-CC99-4F0F-8939-F4C40DB114C4}" srcOrd="0" destOrd="0" parTransId="{1978DD8B-1112-4951-902D-75D6745FFF7B}" sibTransId="{4F31EE14-134D-4D7A-B536-D0224AEADCB7}"/>
    <dgm:cxn modelId="{EBE9AE15-69EE-4BCA-9C46-51B12C746264}" srcId="{1C22A0FF-D522-463C-ACB8-6FC88DA330BE}" destId="{3F73BACA-528C-4462-BCAA-D54F6B924EFE}" srcOrd="3" destOrd="0" parTransId="{F0DFDAAE-9CC8-4D3F-BBCA-249315F2780C}" sibTransId="{E6450657-6043-48BC-800C-A6F5BF06C326}"/>
    <dgm:cxn modelId="{62DD171F-EDB4-4133-AFAE-9DAD00BC8FA3}" type="presOf" srcId="{930CD3AE-137A-43F4-83E4-57E78686D231}" destId="{24652A6A-0D82-4255-83DD-407C1A5FE4B9}" srcOrd="1" destOrd="0" presId="urn:microsoft.com/office/officeart/2005/8/layout/list1"/>
    <dgm:cxn modelId="{3BE22631-E967-479E-8258-89A0E837C78F}" type="presOf" srcId="{EF5EB75E-CC99-4F0F-8939-F4C40DB114C4}" destId="{0D59AE30-8E8D-41FA-AE15-362573A12D21}" srcOrd="0" destOrd="0" presId="urn:microsoft.com/office/officeart/2005/8/layout/list1"/>
    <dgm:cxn modelId="{2E4C5246-9733-4EAA-8BAC-D400357EB177}" srcId="{C3AF99ED-9CF3-47AE-B159-1C8A0FF85642}" destId="{9780791A-7038-4370-B200-5551E83A7654}" srcOrd="1" destOrd="0" parTransId="{F6032802-715D-429B-A643-897E60F50DB6}" sibTransId="{2D4600CC-DFBF-4723-A06D-E2E015D41846}"/>
    <dgm:cxn modelId="{1777354A-2683-4BD7-AB7E-54115B24D085}" type="presOf" srcId="{930CD3AE-137A-43F4-83E4-57E78686D231}" destId="{1EC57E3D-6B85-49B1-898D-C98753FF8921}" srcOrd="0" destOrd="0" presId="urn:microsoft.com/office/officeart/2005/8/layout/list1"/>
    <dgm:cxn modelId="{10F3DF6D-49E5-4C66-9A5A-BE70920645E4}" type="presOf" srcId="{40BB254F-0764-4660-80D4-10BFADCB3F99}" destId="{CB134718-C98F-4058-B691-9C36E36B0687}" srcOrd="0" destOrd="0" presId="urn:microsoft.com/office/officeart/2005/8/layout/list1"/>
    <dgm:cxn modelId="{30125D74-0E31-403F-887C-A805033F2B46}" srcId="{1C22A0FF-D522-463C-ACB8-6FC88DA330BE}" destId="{A888F086-ED63-4570-A709-3DB17A714F98}" srcOrd="1" destOrd="0" parTransId="{F7E12FBB-933F-40E5-813A-4AE5CB1D9CB4}" sibTransId="{E959E644-B942-40C3-8B63-EA7F18DE3A24}"/>
    <dgm:cxn modelId="{18630559-06D7-4F84-990D-80EB4B44DFC9}" srcId="{A888F086-ED63-4570-A709-3DB17A714F98}" destId="{40BB254F-0764-4660-80D4-10BFADCB3F99}" srcOrd="0" destOrd="0" parTransId="{1939ABE9-3ED2-4CE0-BD6A-3418FBC4DD09}" sibTransId="{6C79451F-DC7D-47E1-8B38-1252B057D0A4}"/>
    <dgm:cxn modelId="{981A887D-5FA9-496F-99A3-879D2B34D48B}" type="presOf" srcId="{3F73BACA-528C-4462-BCAA-D54F6B924EFE}" destId="{36384ECF-9D8F-43AB-A218-3A60C8C7643A}" srcOrd="0" destOrd="0" presId="urn:microsoft.com/office/officeart/2005/8/layout/list1"/>
    <dgm:cxn modelId="{7439E87D-EA73-44B8-8763-79FCF2CBC2FC}" type="presOf" srcId="{C3AF99ED-9CF3-47AE-B159-1C8A0FF85642}" destId="{982EEB06-085E-4DC8-9796-535E64067DE2}" srcOrd="0" destOrd="0" presId="urn:microsoft.com/office/officeart/2005/8/layout/list1"/>
    <dgm:cxn modelId="{B49D42A2-9EC3-49DB-955E-3DD5827036E0}" type="presOf" srcId="{9780791A-7038-4370-B200-5551E83A7654}" destId="{70CB5B88-B176-4B68-8EA3-2590F48FCC40}" srcOrd="0" destOrd="1" presId="urn:microsoft.com/office/officeart/2005/8/layout/list1"/>
    <dgm:cxn modelId="{1C3E4BA4-A694-41D0-8D2B-99C86768C4BA}" type="presOf" srcId="{1C22A0FF-D522-463C-ACB8-6FC88DA330BE}" destId="{D9064E83-2780-43EF-9A06-425A06BC94C8}" srcOrd="0" destOrd="0" presId="urn:microsoft.com/office/officeart/2005/8/layout/list1"/>
    <dgm:cxn modelId="{6143E9CD-2A6A-404A-8297-2B4A0FEBCAE3}" type="presOf" srcId="{3F73BACA-528C-4462-BCAA-D54F6B924EFE}" destId="{35F630BF-532D-4D1F-8C85-10A208E50F6B}" srcOrd="1" destOrd="0" presId="urn:microsoft.com/office/officeart/2005/8/layout/list1"/>
    <dgm:cxn modelId="{470BADCF-81FA-4A8E-8B6F-49887BAF3DF4}" type="presOf" srcId="{A888F086-ED63-4570-A709-3DB17A714F98}" destId="{0D78B05D-CFCC-44E8-BB24-CA4A39117823}" srcOrd="1" destOrd="0" presId="urn:microsoft.com/office/officeart/2005/8/layout/list1"/>
    <dgm:cxn modelId="{3CE9E4CF-1F54-47C1-9902-ED4FC0B1C749}" srcId="{1C22A0FF-D522-463C-ACB8-6FC88DA330BE}" destId="{C3AF99ED-9CF3-47AE-B159-1C8A0FF85642}" srcOrd="2" destOrd="0" parTransId="{17BE86A5-2601-4032-9BB2-3DF106351A4F}" sibTransId="{AE00B771-18F0-4452-BEB8-DC39374C4668}"/>
    <dgm:cxn modelId="{F90EC4D7-B587-4D8D-843A-BFE723FA17D4}" type="presOf" srcId="{A888F086-ED63-4570-A709-3DB17A714F98}" destId="{06E999EF-E744-4685-BAA0-3121CD717A36}" srcOrd="0" destOrd="0" presId="urn:microsoft.com/office/officeart/2005/8/layout/list1"/>
    <dgm:cxn modelId="{57D520E7-283B-4D19-A877-3F5F29E02723}" srcId="{1C22A0FF-D522-463C-ACB8-6FC88DA330BE}" destId="{930CD3AE-137A-43F4-83E4-57E78686D231}" srcOrd="0" destOrd="0" parTransId="{1CE8F09A-F193-4813-8892-221EE93CE322}" sibTransId="{00EA72C4-20AC-491F-BD04-0A4850E84F9A}"/>
    <dgm:cxn modelId="{86470EED-FB7E-43E9-85F0-4D7FBE673E29}" srcId="{C3AF99ED-9CF3-47AE-B159-1C8A0FF85642}" destId="{68236725-6001-4582-AFDC-10D417A83798}" srcOrd="0" destOrd="0" parTransId="{F1D40569-3C58-4F1F-898F-30C6FCC60BD6}" sibTransId="{DA758E14-3803-495F-B6B8-8E6A7B1D2348}"/>
    <dgm:cxn modelId="{1C57A0F0-A23B-44BB-9203-07540E445CE0}" type="presOf" srcId="{68236725-6001-4582-AFDC-10D417A83798}" destId="{70CB5B88-B176-4B68-8EA3-2590F48FCC40}" srcOrd="0" destOrd="0" presId="urn:microsoft.com/office/officeart/2005/8/layout/list1"/>
    <dgm:cxn modelId="{DA618BF7-BD0F-41F0-B7BC-3D31B0AC3CAA}" type="presParOf" srcId="{D9064E83-2780-43EF-9A06-425A06BC94C8}" destId="{84E9D67B-9FC5-4BF1-9004-0449CC45B222}" srcOrd="0" destOrd="0" presId="urn:microsoft.com/office/officeart/2005/8/layout/list1"/>
    <dgm:cxn modelId="{5B03EB4F-0816-4945-9C6D-2F418D1930B7}" type="presParOf" srcId="{84E9D67B-9FC5-4BF1-9004-0449CC45B222}" destId="{1EC57E3D-6B85-49B1-898D-C98753FF8921}" srcOrd="0" destOrd="0" presId="urn:microsoft.com/office/officeart/2005/8/layout/list1"/>
    <dgm:cxn modelId="{55D82B4D-D145-4B82-8008-F685DDC6647C}" type="presParOf" srcId="{84E9D67B-9FC5-4BF1-9004-0449CC45B222}" destId="{24652A6A-0D82-4255-83DD-407C1A5FE4B9}" srcOrd="1" destOrd="0" presId="urn:microsoft.com/office/officeart/2005/8/layout/list1"/>
    <dgm:cxn modelId="{33CE0B19-EDD3-4959-923D-78F4C5DA8578}" type="presParOf" srcId="{D9064E83-2780-43EF-9A06-425A06BC94C8}" destId="{09E60960-D77F-4948-8F01-96321AB1DE8B}" srcOrd="1" destOrd="0" presId="urn:microsoft.com/office/officeart/2005/8/layout/list1"/>
    <dgm:cxn modelId="{C292ADAF-0723-4126-BFF5-72D94C446810}" type="presParOf" srcId="{D9064E83-2780-43EF-9A06-425A06BC94C8}" destId="{A742891A-472D-4721-9991-0B11C540B3B7}" srcOrd="2" destOrd="0" presId="urn:microsoft.com/office/officeart/2005/8/layout/list1"/>
    <dgm:cxn modelId="{E574CBE6-D0EC-43D6-BBFD-4D2809770F3D}" type="presParOf" srcId="{D9064E83-2780-43EF-9A06-425A06BC94C8}" destId="{4574D4C5-2E1A-4548-A009-00A918633E37}" srcOrd="3" destOrd="0" presId="urn:microsoft.com/office/officeart/2005/8/layout/list1"/>
    <dgm:cxn modelId="{4435F2D5-52FC-4252-AC07-E7962035BC3C}" type="presParOf" srcId="{D9064E83-2780-43EF-9A06-425A06BC94C8}" destId="{2ED63FA9-5FAF-47B5-B8BA-872864D1A34E}" srcOrd="4" destOrd="0" presId="urn:microsoft.com/office/officeart/2005/8/layout/list1"/>
    <dgm:cxn modelId="{2959CE0E-7543-49E5-9E05-4E52DF00D251}" type="presParOf" srcId="{2ED63FA9-5FAF-47B5-B8BA-872864D1A34E}" destId="{06E999EF-E744-4685-BAA0-3121CD717A36}" srcOrd="0" destOrd="0" presId="urn:microsoft.com/office/officeart/2005/8/layout/list1"/>
    <dgm:cxn modelId="{A8C54C0B-1509-46CC-92C4-8AC84D843501}" type="presParOf" srcId="{2ED63FA9-5FAF-47B5-B8BA-872864D1A34E}" destId="{0D78B05D-CFCC-44E8-BB24-CA4A39117823}" srcOrd="1" destOrd="0" presId="urn:microsoft.com/office/officeart/2005/8/layout/list1"/>
    <dgm:cxn modelId="{79D92D10-8D18-4029-B219-611868DD0D0B}" type="presParOf" srcId="{D9064E83-2780-43EF-9A06-425A06BC94C8}" destId="{35D740C4-3FD0-4A96-82CC-1304A8B3A169}" srcOrd="5" destOrd="0" presId="urn:microsoft.com/office/officeart/2005/8/layout/list1"/>
    <dgm:cxn modelId="{FA72DAFD-2DE3-4BFF-AD5D-4338F1A7E85F}" type="presParOf" srcId="{D9064E83-2780-43EF-9A06-425A06BC94C8}" destId="{CB134718-C98F-4058-B691-9C36E36B0687}" srcOrd="6" destOrd="0" presId="urn:microsoft.com/office/officeart/2005/8/layout/list1"/>
    <dgm:cxn modelId="{485D3C70-F875-47C8-8472-0E9B49CAE126}" type="presParOf" srcId="{D9064E83-2780-43EF-9A06-425A06BC94C8}" destId="{0AF4F2FA-5DC2-4362-B51D-B92B2BFC72FE}" srcOrd="7" destOrd="0" presId="urn:microsoft.com/office/officeart/2005/8/layout/list1"/>
    <dgm:cxn modelId="{284DB19D-398E-40BA-8D4D-38A21C4FC65B}" type="presParOf" srcId="{D9064E83-2780-43EF-9A06-425A06BC94C8}" destId="{EE62CBEF-8485-42DB-B659-28CC35513069}" srcOrd="8" destOrd="0" presId="urn:microsoft.com/office/officeart/2005/8/layout/list1"/>
    <dgm:cxn modelId="{C34B1123-EBA0-4178-8323-31C030678618}" type="presParOf" srcId="{EE62CBEF-8485-42DB-B659-28CC35513069}" destId="{982EEB06-085E-4DC8-9796-535E64067DE2}" srcOrd="0" destOrd="0" presId="urn:microsoft.com/office/officeart/2005/8/layout/list1"/>
    <dgm:cxn modelId="{F5CA6BBC-7803-4240-B905-ED8A1B0B2340}" type="presParOf" srcId="{EE62CBEF-8485-42DB-B659-28CC35513069}" destId="{97B8B39D-A40B-4723-A32E-FBEC3624AF1E}" srcOrd="1" destOrd="0" presId="urn:microsoft.com/office/officeart/2005/8/layout/list1"/>
    <dgm:cxn modelId="{0DAA8333-E8BC-495E-9337-9FB30AAF92B7}" type="presParOf" srcId="{D9064E83-2780-43EF-9A06-425A06BC94C8}" destId="{5391A921-FE55-44D2-868A-6F7FB9CFE56B}" srcOrd="9" destOrd="0" presId="urn:microsoft.com/office/officeart/2005/8/layout/list1"/>
    <dgm:cxn modelId="{C6F9C923-8ACB-42E8-B1BE-181220033DBF}" type="presParOf" srcId="{D9064E83-2780-43EF-9A06-425A06BC94C8}" destId="{70CB5B88-B176-4B68-8EA3-2590F48FCC40}" srcOrd="10" destOrd="0" presId="urn:microsoft.com/office/officeart/2005/8/layout/list1"/>
    <dgm:cxn modelId="{9EFA56A2-20F9-4C38-80FB-AA55E90775F5}" type="presParOf" srcId="{D9064E83-2780-43EF-9A06-425A06BC94C8}" destId="{CABD8F43-406F-499A-AE64-2E5C8E5EFC3E}" srcOrd="11" destOrd="0" presId="urn:microsoft.com/office/officeart/2005/8/layout/list1"/>
    <dgm:cxn modelId="{6A4424C7-4253-4EDB-B61F-8532D1793A4E}" type="presParOf" srcId="{D9064E83-2780-43EF-9A06-425A06BC94C8}" destId="{9949135F-E3D7-4D6D-B166-61459E3A4CC0}" srcOrd="12" destOrd="0" presId="urn:microsoft.com/office/officeart/2005/8/layout/list1"/>
    <dgm:cxn modelId="{0B49A868-DFC3-42D6-A073-D133768F07B0}" type="presParOf" srcId="{9949135F-E3D7-4D6D-B166-61459E3A4CC0}" destId="{36384ECF-9D8F-43AB-A218-3A60C8C7643A}" srcOrd="0" destOrd="0" presId="urn:microsoft.com/office/officeart/2005/8/layout/list1"/>
    <dgm:cxn modelId="{0689A171-3EAE-4749-B5AB-7CCA9D046AA5}" type="presParOf" srcId="{9949135F-E3D7-4D6D-B166-61459E3A4CC0}" destId="{35F630BF-532D-4D1F-8C85-10A208E50F6B}" srcOrd="1" destOrd="0" presId="urn:microsoft.com/office/officeart/2005/8/layout/list1"/>
    <dgm:cxn modelId="{CB7E7E27-EF98-4EB9-9612-41D864F872A5}" type="presParOf" srcId="{D9064E83-2780-43EF-9A06-425A06BC94C8}" destId="{70576234-4329-4826-A8E2-746E50A634C6}" srcOrd="13" destOrd="0" presId="urn:microsoft.com/office/officeart/2005/8/layout/list1"/>
    <dgm:cxn modelId="{266BE368-B239-4AB5-B38C-EACD275086BA}" type="presParOf" srcId="{D9064E83-2780-43EF-9A06-425A06BC94C8}" destId="{0D59AE30-8E8D-41FA-AE15-362573A12D21}"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9E64013-8D98-4179-B0D2-B24E4A363CEB}" type="doc">
      <dgm:prSet loTypeId="urn:microsoft.com/office/officeart/2008/layout/VerticalCurvedList" loCatId="list" qsTypeId="urn:microsoft.com/office/officeart/2005/8/quickstyle/simple1" qsCatId="simple" csTypeId="urn:microsoft.com/office/officeart/2005/8/colors/colorful2" csCatId="colorful"/>
      <dgm:spPr/>
      <dgm:t>
        <a:bodyPr/>
        <a:lstStyle/>
        <a:p>
          <a:endParaRPr lang="en-US"/>
        </a:p>
      </dgm:t>
    </dgm:pt>
    <dgm:pt modelId="{26B8CA1D-D226-4EAD-B663-906A3693F324}">
      <dgm:prSet custT="1"/>
      <dgm:spPr/>
      <dgm:t>
        <a:bodyPr/>
        <a:lstStyle/>
        <a:p>
          <a:r>
            <a:rPr lang="en-US" sz="2400" baseline="0" dirty="0"/>
            <a:t>Create a Log Analytics Workspace</a:t>
          </a:r>
          <a:endParaRPr lang="en-US" sz="2400" dirty="0"/>
        </a:p>
      </dgm:t>
    </dgm:pt>
    <dgm:pt modelId="{0B492669-9234-46D7-A51A-BE4A87D99F26}" type="parTrans" cxnId="{8C8A9B9A-E4C4-4AFB-933C-E36E52EDEF7C}">
      <dgm:prSet/>
      <dgm:spPr/>
      <dgm:t>
        <a:bodyPr/>
        <a:lstStyle/>
        <a:p>
          <a:endParaRPr lang="en-US" sz="2400"/>
        </a:p>
      </dgm:t>
    </dgm:pt>
    <dgm:pt modelId="{BF5CCDE9-B948-4D3B-80AA-2A0A72ECB71F}" type="sibTrans" cxnId="{8C8A9B9A-E4C4-4AFB-933C-E36E52EDEF7C}">
      <dgm:prSet/>
      <dgm:spPr/>
      <dgm:t>
        <a:bodyPr/>
        <a:lstStyle/>
        <a:p>
          <a:endParaRPr lang="en-US" sz="2400"/>
        </a:p>
      </dgm:t>
    </dgm:pt>
    <dgm:pt modelId="{9080C516-2B7B-4616-A44F-D901744AE134}">
      <dgm:prSet custT="1"/>
      <dgm:spPr/>
      <dgm:t>
        <a:bodyPr/>
        <a:lstStyle/>
        <a:p>
          <a:r>
            <a:rPr lang="en-US" sz="2400" baseline="0"/>
            <a:t>Add new ‘Diagnostic setting’ to send logs to your workspace</a:t>
          </a:r>
          <a:endParaRPr lang="en-US" sz="2400"/>
        </a:p>
      </dgm:t>
    </dgm:pt>
    <dgm:pt modelId="{FBAF5CA3-9064-4DD2-8A0E-9D0F79C80119}" type="parTrans" cxnId="{86B85690-0B2E-4336-A72B-858E938C2281}">
      <dgm:prSet/>
      <dgm:spPr/>
      <dgm:t>
        <a:bodyPr/>
        <a:lstStyle/>
        <a:p>
          <a:endParaRPr lang="en-US" sz="2400"/>
        </a:p>
      </dgm:t>
    </dgm:pt>
    <dgm:pt modelId="{03E477D9-4FAD-4457-A962-D684DD106618}" type="sibTrans" cxnId="{86B85690-0B2E-4336-A72B-858E938C2281}">
      <dgm:prSet/>
      <dgm:spPr/>
      <dgm:t>
        <a:bodyPr/>
        <a:lstStyle/>
        <a:p>
          <a:endParaRPr lang="en-US" sz="2400"/>
        </a:p>
      </dgm:t>
    </dgm:pt>
    <dgm:pt modelId="{BBFF577A-4770-4F61-AD2F-8859821CF874}">
      <dgm:prSet custT="1"/>
      <dgm:spPr/>
      <dgm:t>
        <a:bodyPr/>
        <a:lstStyle/>
        <a:p>
          <a:r>
            <a:rPr lang="en-US" sz="2400" baseline="0"/>
            <a:t>Select which metrics you want to monitor</a:t>
          </a:r>
          <a:endParaRPr lang="en-US" sz="2400"/>
        </a:p>
      </dgm:t>
    </dgm:pt>
    <dgm:pt modelId="{52E8D169-E378-4BA4-B4E6-7D14DED5D743}" type="parTrans" cxnId="{23ECCE89-82DD-4A35-8CE9-395278414756}">
      <dgm:prSet/>
      <dgm:spPr/>
      <dgm:t>
        <a:bodyPr/>
        <a:lstStyle/>
        <a:p>
          <a:endParaRPr lang="en-US" sz="2400"/>
        </a:p>
      </dgm:t>
    </dgm:pt>
    <dgm:pt modelId="{814C5785-CCCF-4A94-AA44-BBC03AFC98F9}" type="sibTrans" cxnId="{23ECCE89-82DD-4A35-8CE9-395278414756}">
      <dgm:prSet/>
      <dgm:spPr/>
      <dgm:t>
        <a:bodyPr/>
        <a:lstStyle/>
        <a:p>
          <a:endParaRPr lang="en-US" sz="2400"/>
        </a:p>
      </dgm:t>
    </dgm:pt>
    <dgm:pt modelId="{E3001B4C-0496-44FA-9420-36834714A353}" type="pres">
      <dgm:prSet presAssocID="{69E64013-8D98-4179-B0D2-B24E4A363CEB}" presName="Name0" presStyleCnt="0">
        <dgm:presLayoutVars>
          <dgm:chMax val="7"/>
          <dgm:chPref val="7"/>
          <dgm:dir/>
        </dgm:presLayoutVars>
      </dgm:prSet>
      <dgm:spPr/>
    </dgm:pt>
    <dgm:pt modelId="{B076AE4B-8E53-480E-9F20-6002BFA2D763}" type="pres">
      <dgm:prSet presAssocID="{69E64013-8D98-4179-B0D2-B24E4A363CEB}" presName="Name1" presStyleCnt="0"/>
      <dgm:spPr/>
    </dgm:pt>
    <dgm:pt modelId="{7056D087-47F4-4F33-827B-8CD642756390}" type="pres">
      <dgm:prSet presAssocID="{69E64013-8D98-4179-B0D2-B24E4A363CEB}" presName="cycle" presStyleCnt="0"/>
      <dgm:spPr/>
    </dgm:pt>
    <dgm:pt modelId="{37C11588-0D0E-4BBC-891F-3163BA5DD3BC}" type="pres">
      <dgm:prSet presAssocID="{69E64013-8D98-4179-B0D2-B24E4A363CEB}" presName="srcNode" presStyleLbl="node1" presStyleIdx="0" presStyleCnt="3"/>
      <dgm:spPr/>
    </dgm:pt>
    <dgm:pt modelId="{DE72722B-4DEB-4DBF-8526-74394DC14106}" type="pres">
      <dgm:prSet presAssocID="{69E64013-8D98-4179-B0D2-B24E4A363CEB}" presName="conn" presStyleLbl="parChTrans1D2" presStyleIdx="0" presStyleCnt="1"/>
      <dgm:spPr/>
    </dgm:pt>
    <dgm:pt modelId="{863379C3-2551-4394-8660-8BF957F6A061}" type="pres">
      <dgm:prSet presAssocID="{69E64013-8D98-4179-B0D2-B24E4A363CEB}" presName="extraNode" presStyleLbl="node1" presStyleIdx="0" presStyleCnt="3"/>
      <dgm:spPr/>
    </dgm:pt>
    <dgm:pt modelId="{108C34C0-7F3A-42FD-AABB-D4D344B70492}" type="pres">
      <dgm:prSet presAssocID="{69E64013-8D98-4179-B0D2-B24E4A363CEB}" presName="dstNode" presStyleLbl="node1" presStyleIdx="0" presStyleCnt="3"/>
      <dgm:spPr/>
    </dgm:pt>
    <dgm:pt modelId="{BA4C7D86-BB65-4C76-AB7A-5087640588C2}" type="pres">
      <dgm:prSet presAssocID="{26B8CA1D-D226-4EAD-B663-906A3693F324}" presName="text_1" presStyleLbl="node1" presStyleIdx="0" presStyleCnt="3">
        <dgm:presLayoutVars>
          <dgm:bulletEnabled val="1"/>
        </dgm:presLayoutVars>
      </dgm:prSet>
      <dgm:spPr/>
    </dgm:pt>
    <dgm:pt modelId="{75E95D05-67FA-4DA6-913B-292EC8AF15E4}" type="pres">
      <dgm:prSet presAssocID="{26B8CA1D-D226-4EAD-B663-906A3693F324}" presName="accent_1" presStyleCnt="0"/>
      <dgm:spPr/>
    </dgm:pt>
    <dgm:pt modelId="{93A6A008-99D3-4956-BD8E-2C62F7695750}" type="pres">
      <dgm:prSet presAssocID="{26B8CA1D-D226-4EAD-B663-906A3693F324}" presName="accentRepeatNode" presStyleLbl="solidFgAcc1" presStyleIdx="0" presStyleCnt="3"/>
      <dgm:spPr/>
    </dgm:pt>
    <dgm:pt modelId="{E43D6098-374A-4066-8740-EC6A9EDEB5D3}" type="pres">
      <dgm:prSet presAssocID="{9080C516-2B7B-4616-A44F-D901744AE134}" presName="text_2" presStyleLbl="node1" presStyleIdx="1" presStyleCnt="3">
        <dgm:presLayoutVars>
          <dgm:bulletEnabled val="1"/>
        </dgm:presLayoutVars>
      </dgm:prSet>
      <dgm:spPr/>
    </dgm:pt>
    <dgm:pt modelId="{F73B7E96-2C35-4E41-B4DD-52ACF34C0F7E}" type="pres">
      <dgm:prSet presAssocID="{9080C516-2B7B-4616-A44F-D901744AE134}" presName="accent_2" presStyleCnt="0"/>
      <dgm:spPr/>
    </dgm:pt>
    <dgm:pt modelId="{70B8BF4A-EB4F-401D-B82F-E487FFF8BA8F}" type="pres">
      <dgm:prSet presAssocID="{9080C516-2B7B-4616-A44F-D901744AE134}" presName="accentRepeatNode" presStyleLbl="solidFgAcc1" presStyleIdx="1" presStyleCnt="3"/>
      <dgm:spPr/>
    </dgm:pt>
    <dgm:pt modelId="{D9C5B57F-9565-4A7F-ADDD-1977A079988B}" type="pres">
      <dgm:prSet presAssocID="{BBFF577A-4770-4F61-AD2F-8859821CF874}" presName="text_3" presStyleLbl="node1" presStyleIdx="2" presStyleCnt="3">
        <dgm:presLayoutVars>
          <dgm:bulletEnabled val="1"/>
        </dgm:presLayoutVars>
      </dgm:prSet>
      <dgm:spPr/>
    </dgm:pt>
    <dgm:pt modelId="{25ACAD69-29BD-437D-AACB-41E8F8C91CA5}" type="pres">
      <dgm:prSet presAssocID="{BBFF577A-4770-4F61-AD2F-8859821CF874}" presName="accent_3" presStyleCnt="0"/>
      <dgm:spPr/>
    </dgm:pt>
    <dgm:pt modelId="{CED45248-1BC7-4485-B9B8-862077963B30}" type="pres">
      <dgm:prSet presAssocID="{BBFF577A-4770-4F61-AD2F-8859821CF874}" presName="accentRepeatNode" presStyleLbl="solidFgAcc1" presStyleIdx="2" presStyleCnt="3"/>
      <dgm:spPr/>
    </dgm:pt>
  </dgm:ptLst>
  <dgm:cxnLst>
    <dgm:cxn modelId="{66028072-C4EA-440A-9DFA-C90842B97EFB}" type="presOf" srcId="{9080C516-2B7B-4616-A44F-D901744AE134}" destId="{E43D6098-374A-4066-8740-EC6A9EDEB5D3}" srcOrd="0" destOrd="0" presId="urn:microsoft.com/office/officeart/2008/layout/VerticalCurvedList"/>
    <dgm:cxn modelId="{B2E53253-E060-4B20-AA8F-0F70F17AB002}" type="presOf" srcId="{69E64013-8D98-4179-B0D2-B24E4A363CEB}" destId="{E3001B4C-0496-44FA-9420-36834714A353}" srcOrd="0" destOrd="0" presId="urn:microsoft.com/office/officeart/2008/layout/VerticalCurvedList"/>
    <dgm:cxn modelId="{1BE5B17B-9260-4DA5-8704-48BD98BB34AF}" type="presOf" srcId="{BF5CCDE9-B948-4D3B-80AA-2A0A72ECB71F}" destId="{DE72722B-4DEB-4DBF-8526-74394DC14106}" srcOrd="0" destOrd="0" presId="urn:microsoft.com/office/officeart/2008/layout/VerticalCurvedList"/>
    <dgm:cxn modelId="{23ECCE89-82DD-4A35-8CE9-395278414756}" srcId="{69E64013-8D98-4179-B0D2-B24E4A363CEB}" destId="{BBFF577A-4770-4F61-AD2F-8859821CF874}" srcOrd="2" destOrd="0" parTransId="{52E8D169-E378-4BA4-B4E6-7D14DED5D743}" sibTransId="{814C5785-CCCF-4A94-AA44-BBC03AFC98F9}"/>
    <dgm:cxn modelId="{86B85690-0B2E-4336-A72B-858E938C2281}" srcId="{69E64013-8D98-4179-B0D2-B24E4A363CEB}" destId="{9080C516-2B7B-4616-A44F-D901744AE134}" srcOrd="1" destOrd="0" parTransId="{FBAF5CA3-9064-4DD2-8A0E-9D0F79C80119}" sibTransId="{03E477D9-4FAD-4457-A962-D684DD106618}"/>
    <dgm:cxn modelId="{8C8A9B9A-E4C4-4AFB-933C-E36E52EDEF7C}" srcId="{69E64013-8D98-4179-B0D2-B24E4A363CEB}" destId="{26B8CA1D-D226-4EAD-B663-906A3693F324}" srcOrd="0" destOrd="0" parTransId="{0B492669-9234-46D7-A51A-BE4A87D99F26}" sibTransId="{BF5CCDE9-B948-4D3B-80AA-2A0A72ECB71F}"/>
    <dgm:cxn modelId="{F24D97A4-8E11-48D3-BD8A-5D84F7940DF6}" type="presOf" srcId="{BBFF577A-4770-4F61-AD2F-8859821CF874}" destId="{D9C5B57F-9565-4A7F-ADDD-1977A079988B}" srcOrd="0" destOrd="0" presId="urn:microsoft.com/office/officeart/2008/layout/VerticalCurvedList"/>
    <dgm:cxn modelId="{4F0706C9-0DE4-4DF5-9646-BD3B56577298}" type="presOf" srcId="{26B8CA1D-D226-4EAD-B663-906A3693F324}" destId="{BA4C7D86-BB65-4C76-AB7A-5087640588C2}" srcOrd="0" destOrd="0" presId="urn:microsoft.com/office/officeart/2008/layout/VerticalCurvedList"/>
    <dgm:cxn modelId="{4010A48F-E975-430B-A557-2FCB261C17B2}" type="presParOf" srcId="{E3001B4C-0496-44FA-9420-36834714A353}" destId="{B076AE4B-8E53-480E-9F20-6002BFA2D763}" srcOrd="0" destOrd="0" presId="urn:microsoft.com/office/officeart/2008/layout/VerticalCurvedList"/>
    <dgm:cxn modelId="{34D62E97-61A2-47FA-A1AB-7E30F170CB62}" type="presParOf" srcId="{B076AE4B-8E53-480E-9F20-6002BFA2D763}" destId="{7056D087-47F4-4F33-827B-8CD642756390}" srcOrd="0" destOrd="0" presId="urn:microsoft.com/office/officeart/2008/layout/VerticalCurvedList"/>
    <dgm:cxn modelId="{1DC9D528-93F3-4048-A734-0A7CB489BB9C}" type="presParOf" srcId="{7056D087-47F4-4F33-827B-8CD642756390}" destId="{37C11588-0D0E-4BBC-891F-3163BA5DD3BC}" srcOrd="0" destOrd="0" presId="urn:microsoft.com/office/officeart/2008/layout/VerticalCurvedList"/>
    <dgm:cxn modelId="{55F1690B-6CF7-4E4A-A6D3-6FD176FE9400}" type="presParOf" srcId="{7056D087-47F4-4F33-827B-8CD642756390}" destId="{DE72722B-4DEB-4DBF-8526-74394DC14106}" srcOrd="1" destOrd="0" presId="urn:microsoft.com/office/officeart/2008/layout/VerticalCurvedList"/>
    <dgm:cxn modelId="{B24DD45B-A7A7-4A99-AE96-680FA2942CB1}" type="presParOf" srcId="{7056D087-47F4-4F33-827B-8CD642756390}" destId="{863379C3-2551-4394-8660-8BF957F6A061}" srcOrd="2" destOrd="0" presId="urn:microsoft.com/office/officeart/2008/layout/VerticalCurvedList"/>
    <dgm:cxn modelId="{22A8791B-2F01-478D-8E46-327DD4361CDE}" type="presParOf" srcId="{7056D087-47F4-4F33-827B-8CD642756390}" destId="{108C34C0-7F3A-42FD-AABB-D4D344B70492}" srcOrd="3" destOrd="0" presId="urn:microsoft.com/office/officeart/2008/layout/VerticalCurvedList"/>
    <dgm:cxn modelId="{73DBA9FA-6EE7-430B-83FF-CD81C925DF86}" type="presParOf" srcId="{B076AE4B-8E53-480E-9F20-6002BFA2D763}" destId="{BA4C7D86-BB65-4C76-AB7A-5087640588C2}" srcOrd="1" destOrd="0" presId="urn:microsoft.com/office/officeart/2008/layout/VerticalCurvedList"/>
    <dgm:cxn modelId="{F7FDE5D0-E9C3-44CE-89F7-58AB924AB458}" type="presParOf" srcId="{B076AE4B-8E53-480E-9F20-6002BFA2D763}" destId="{75E95D05-67FA-4DA6-913B-292EC8AF15E4}" srcOrd="2" destOrd="0" presId="urn:microsoft.com/office/officeart/2008/layout/VerticalCurvedList"/>
    <dgm:cxn modelId="{021F2077-7732-4737-AA98-4FDDD57CE85D}" type="presParOf" srcId="{75E95D05-67FA-4DA6-913B-292EC8AF15E4}" destId="{93A6A008-99D3-4956-BD8E-2C62F7695750}" srcOrd="0" destOrd="0" presId="urn:microsoft.com/office/officeart/2008/layout/VerticalCurvedList"/>
    <dgm:cxn modelId="{7C4B982C-ACB7-4BC7-9FD1-E3BAAFE3236D}" type="presParOf" srcId="{B076AE4B-8E53-480E-9F20-6002BFA2D763}" destId="{E43D6098-374A-4066-8740-EC6A9EDEB5D3}" srcOrd="3" destOrd="0" presId="urn:microsoft.com/office/officeart/2008/layout/VerticalCurvedList"/>
    <dgm:cxn modelId="{A4067E88-6982-412F-828B-8ADB317CD81C}" type="presParOf" srcId="{B076AE4B-8E53-480E-9F20-6002BFA2D763}" destId="{F73B7E96-2C35-4E41-B4DD-52ACF34C0F7E}" srcOrd="4" destOrd="0" presId="urn:microsoft.com/office/officeart/2008/layout/VerticalCurvedList"/>
    <dgm:cxn modelId="{8837E845-5E4B-4B81-842D-8081D4B99BB4}" type="presParOf" srcId="{F73B7E96-2C35-4E41-B4DD-52ACF34C0F7E}" destId="{70B8BF4A-EB4F-401D-B82F-E487FFF8BA8F}" srcOrd="0" destOrd="0" presId="urn:microsoft.com/office/officeart/2008/layout/VerticalCurvedList"/>
    <dgm:cxn modelId="{49A73720-A22A-4880-9BA9-1004EB7B8FEF}" type="presParOf" srcId="{B076AE4B-8E53-480E-9F20-6002BFA2D763}" destId="{D9C5B57F-9565-4A7F-ADDD-1977A079988B}" srcOrd="5" destOrd="0" presId="urn:microsoft.com/office/officeart/2008/layout/VerticalCurvedList"/>
    <dgm:cxn modelId="{9EFC117F-FC68-424C-B695-68352465F16B}" type="presParOf" srcId="{B076AE4B-8E53-480E-9F20-6002BFA2D763}" destId="{25ACAD69-29BD-437D-AACB-41E8F8C91CA5}" srcOrd="6" destOrd="0" presId="urn:microsoft.com/office/officeart/2008/layout/VerticalCurvedList"/>
    <dgm:cxn modelId="{B30EC189-79A1-42BB-BFBD-D18BE198D5A1}" type="presParOf" srcId="{25ACAD69-29BD-437D-AACB-41E8F8C91CA5}" destId="{CED45248-1BC7-4485-B9B8-862077963B3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48FEA66-3640-4F5A-8CE1-65D9F2BF8FCA}"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953833CC-6D95-4CE3-ACAA-AA5772C8D2DD}">
      <dgm:prSet/>
      <dgm:spPr/>
      <dgm:t>
        <a:bodyPr/>
        <a:lstStyle/>
        <a:p>
          <a:r>
            <a:rPr lang="en-US" dirty="0"/>
            <a:t>Environment for telemetry collection</a:t>
          </a:r>
        </a:p>
      </dgm:t>
    </dgm:pt>
    <dgm:pt modelId="{965A3089-19EF-4F8F-A43D-A4A6F8C0AD3A}" type="parTrans" cxnId="{B17C85C6-B61F-4660-AD6D-88DE0F5DDDDA}">
      <dgm:prSet/>
      <dgm:spPr/>
      <dgm:t>
        <a:bodyPr/>
        <a:lstStyle/>
        <a:p>
          <a:endParaRPr lang="en-US"/>
        </a:p>
      </dgm:t>
    </dgm:pt>
    <dgm:pt modelId="{1512AA64-4B58-4F7C-A692-B67C990FBF65}" type="sibTrans" cxnId="{B17C85C6-B61F-4660-AD6D-88DE0F5DDDDA}">
      <dgm:prSet/>
      <dgm:spPr/>
      <dgm:t>
        <a:bodyPr/>
        <a:lstStyle/>
        <a:p>
          <a:endParaRPr lang="en-US"/>
        </a:p>
      </dgm:t>
    </dgm:pt>
    <dgm:pt modelId="{AFEA749C-3F03-4BF6-A110-CBE49D0024CB}">
      <dgm:prSet/>
      <dgm:spPr/>
      <dgm:t>
        <a:bodyPr/>
        <a:lstStyle/>
        <a:p>
          <a:r>
            <a:rPr lang="en-US"/>
            <a:t>Configure data collection frequency</a:t>
          </a:r>
        </a:p>
      </dgm:t>
    </dgm:pt>
    <dgm:pt modelId="{E0F2F7D1-FFB4-4509-ABF0-A734EC7CD8F5}" type="parTrans" cxnId="{01982D40-5C42-46FB-B7D9-72EC0E52F4BF}">
      <dgm:prSet/>
      <dgm:spPr/>
      <dgm:t>
        <a:bodyPr/>
        <a:lstStyle/>
        <a:p>
          <a:endParaRPr lang="en-US"/>
        </a:p>
      </dgm:t>
    </dgm:pt>
    <dgm:pt modelId="{604FD044-48D1-433B-B8AD-BF82208FA633}" type="sibTrans" cxnId="{01982D40-5C42-46FB-B7D9-72EC0E52F4BF}">
      <dgm:prSet/>
      <dgm:spPr/>
      <dgm:t>
        <a:bodyPr/>
        <a:lstStyle/>
        <a:p>
          <a:endParaRPr lang="en-US"/>
        </a:p>
      </dgm:t>
    </dgm:pt>
    <dgm:pt modelId="{C783DF0D-5303-4BB2-8AA2-28D5A43E2DF0}">
      <dgm:prSet/>
      <dgm:spPr/>
      <dgm:t>
        <a:bodyPr/>
        <a:lstStyle/>
        <a:p>
          <a:r>
            <a:rPr lang="en-US"/>
            <a:t>Choose exactly which data to collect</a:t>
          </a:r>
        </a:p>
      </dgm:t>
    </dgm:pt>
    <dgm:pt modelId="{58E3CE10-4A33-461F-BC06-751C531B0179}" type="parTrans" cxnId="{23774AE5-B9F1-4651-AB86-2FF31A15E728}">
      <dgm:prSet/>
      <dgm:spPr/>
      <dgm:t>
        <a:bodyPr/>
        <a:lstStyle/>
        <a:p>
          <a:endParaRPr lang="en-US"/>
        </a:p>
      </dgm:t>
    </dgm:pt>
    <dgm:pt modelId="{308647CA-9EFB-4D25-A552-7F915DF11522}" type="sibTrans" cxnId="{23774AE5-B9F1-4651-AB86-2FF31A15E728}">
      <dgm:prSet/>
      <dgm:spPr/>
      <dgm:t>
        <a:bodyPr/>
        <a:lstStyle/>
        <a:p>
          <a:endParaRPr lang="en-US"/>
        </a:p>
      </dgm:t>
    </dgm:pt>
    <dgm:pt modelId="{89B7ACB7-33F1-4030-AE62-2033D0BEB244}">
      <dgm:prSet/>
      <dgm:spPr/>
      <dgm:t>
        <a:bodyPr/>
        <a:lstStyle/>
        <a:p>
          <a:r>
            <a:rPr lang="en-US"/>
            <a:t>Control the retention policy for the data</a:t>
          </a:r>
        </a:p>
      </dgm:t>
    </dgm:pt>
    <dgm:pt modelId="{E209EED3-0006-4FF0-82D9-3AA935073DB0}" type="parTrans" cxnId="{B1D6DA24-A86B-4A6F-8DB7-32AD1AF9AB91}">
      <dgm:prSet/>
      <dgm:spPr/>
      <dgm:t>
        <a:bodyPr/>
        <a:lstStyle/>
        <a:p>
          <a:endParaRPr lang="en-US"/>
        </a:p>
      </dgm:t>
    </dgm:pt>
    <dgm:pt modelId="{6364197E-55B9-4EC7-97DA-368D505F450E}" type="sibTrans" cxnId="{B1D6DA24-A86B-4A6F-8DB7-32AD1AF9AB91}">
      <dgm:prSet/>
      <dgm:spPr/>
      <dgm:t>
        <a:bodyPr/>
        <a:lstStyle/>
        <a:p>
          <a:endParaRPr lang="en-US"/>
        </a:p>
      </dgm:t>
    </dgm:pt>
    <dgm:pt modelId="{91F5B93C-5970-4923-A150-7D95FB623647}">
      <dgm:prSet/>
      <dgm:spPr/>
      <dgm:t>
        <a:bodyPr/>
        <a:lstStyle/>
        <a:p>
          <a:r>
            <a:rPr lang="en-US"/>
            <a:t>Create custom data collection rules</a:t>
          </a:r>
        </a:p>
      </dgm:t>
    </dgm:pt>
    <dgm:pt modelId="{4BB615E6-6DAB-484E-BA74-9F3062EDFAAB}" type="parTrans" cxnId="{6266AC73-E812-4564-A9B2-E7AAF0970AA7}">
      <dgm:prSet/>
      <dgm:spPr/>
      <dgm:t>
        <a:bodyPr/>
        <a:lstStyle/>
        <a:p>
          <a:endParaRPr lang="en-US"/>
        </a:p>
      </dgm:t>
    </dgm:pt>
    <dgm:pt modelId="{55AFFB6D-8BC3-47C6-B5F7-A168B93549DD}" type="sibTrans" cxnId="{6266AC73-E812-4564-A9B2-E7AAF0970AA7}">
      <dgm:prSet/>
      <dgm:spPr/>
      <dgm:t>
        <a:bodyPr/>
        <a:lstStyle/>
        <a:p>
          <a:endParaRPr lang="en-US"/>
        </a:p>
      </dgm:t>
    </dgm:pt>
    <dgm:pt modelId="{95D7BFEB-AE45-4732-8CF7-3F712094FB10}">
      <dgm:prSet/>
      <dgm:spPr/>
      <dgm:t>
        <a:bodyPr/>
        <a:lstStyle/>
        <a:p>
          <a:r>
            <a:rPr lang="en-US" dirty="0"/>
            <a:t>Monitor any SQL Deployment in Azure</a:t>
          </a:r>
        </a:p>
      </dgm:t>
    </dgm:pt>
    <dgm:pt modelId="{FB78AA71-7BF8-4F05-AB79-097D79FB6D23}" type="parTrans" cxnId="{DDDA1262-C85A-48A4-BA63-16C7D9C56FCE}">
      <dgm:prSet/>
      <dgm:spPr/>
      <dgm:t>
        <a:bodyPr/>
        <a:lstStyle/>
        <a:p>
          <a:endParaRPr lang="en-US"/>
        </a:p>
      </dgm:t>
    </dgm:pt>
    <dgm:pt modelId="{0EF05AD1-3271-4B9E-81E6-B1EBF744C4F3}" type="sibTrans" cxnId="{DDDA1262-C85A-48A4-BA63-16C7D9C56FCE}">
      <dgm:prSet/>
      <dgm:spPr/>
      <dgm:t>
        <a:bodyPr/>
        <a:lstStyle/>
        <a:p>
          <a:endParaRPr lang="en-US"/>
        </a:p>
      </dgm:t>
    </dgm:pt>
    <dgm:pt modelId="{D6A9943D-9C09-4416-8DBD-EF9502DB6C89}">
      <dgm:prSet/>
      <dgm:spPr/>
      <dgm:t>
        <a:bodyPr/>
        <a:lstStyle/>
        <a:p>
          <a:r>
            <a:rPr lang="en-US"/>
            <a:t>Azure SQL Database</a:t>
          </a:r>
        </a:p>
      </dgm:t>
    </dgm:pt>
    <dgm:pt modelId="{F6D7F2BD-101B-483F-81E5-78EFC59E15A0}" type="parTrans" cxnId="{EC39E67B-BC19-42A3-8A82-DB18577C5F68}">
      <dgm:prSet/>
      <dgm:spPr/>
      <dgm:t>
        <a:bodyPr/>
        <a:lstStyle/>
        <a:p>
          <a:endParaRPr lang="en-US"/>
        </a:p>
      </dgm:t>
    </dgm:pt>
    <dgm:pt modelId="{1E3FF77F-1EE1-4994-93DA-251AFD9DD456}" type="sibTrans" cxnId="{EC39E67B-BC19-42A3-8A82-DB18577C5F68}">
      <dgm:prSet/>
      <dgm:spPr/>
      <dgm:t>
        <a:bodyPr/>
        <a:lstStyle/>
        <a:p>
          <a:endParaRPr lang="en-US"/>
        </a:p>
      </dgm:t>
    </dgm:pt>
    <dgm:pt modelId="{CABE9E85-98D8-4330-809F-EB6959A6AD3F}">
      <dgm:prSet/>
      <dgm:spPr/>
      <dgm:t>
        <a:bodyPr/>
        <a:lstStyle/>
        <a:p>
          <a:r>
            <a:rPr lang="en-US" dirty="0"/>
            <a:t>Azure SQL Managed Instance</a:t>
          </a:r>
        </a:p>
      </dgm:t>
    </dgm:pt>
    <dgm:pt modelId="{C9A98E85-8D8C-4011-9327-1B71A1A7A1E0}" type="parTrans" cxnId="{79B33431-3ACC-405E-9750-FA97E47AC3C8}">
      <dgm:prSet/>
      <dgm:spPr/>
      <dgm:t>
        <a:bodyPr/>
        <a:lstStyle/>
        <a:p>
          <a:endParaRPr lang="en-US"/>
        </a:p>
      </dgm:t>
    </dgm:pt>
    <dgm:pt modelId="{CB2919E5-32E9-46E4-930F-6628D6C40799}" type="sibTrans" cxnId="{79B33431-3ACC-405E-9750-FA97E47AC3C8}">
      <dgm:prSet/>
      <dgm:spPr/>
      <dgm:t>
        <a:bodyPr/>
        <a:lstStyle/>
        <a:p>
          <a:endParaRPr lang="en-US"/>
        </a:p>
      </dgm:t>
    </dgm:pt>
    <dgm:pt modelId="{417BB92C-DCCA-460E-BEB3-BFD51839FE44}">
      <dgm:prSet/>
      <dgm:spPr/>
      <dgm:t>
        <a:bodyPr/>
        <a:lstStyle/>
        <a:p>
          <a:r>
            <a:rPr lang="en-US"/>
            <a:t>SQL Server on Azure Virtual Machines</a:t>
          </a:r>
        </a:p>
      </dgm:t>
    </dgm:pt>
    <dgm:pt modelId="{A3D1337F-2D78-4439-B5EF-ED0A81E09FF3}" type="parTrans" cxnId="{707D6B5E-A18D-4CD6-8406-D53155CF55A6}">
      <dgm:prSet/>
      <dgm:spPr/>
      <dgm:t>
        <a:bodyPr/>
        <a:lstStyle/>
        <a:p>
          <a:endParaRPr lang="en-US"/>
        </a:p>
      </dgm:t>
    </dgm:pt>
    <dgm:pt modelId="{B7E5954B-FCB9-4842-A959-B12607E26A32}" type="sibTrans" cxnId="{707D6B5E-A18D-4CD6-8406-D53155CF55A6}">
      <dgm:prSet/>
      <dgm:spPr/>
      <dgm:t>
        <a:bodyPr/>
        <a:lstStyle/>
        <a:p>
          <a:endParaRPr lang="en-US"/>
        </a:p>
      </dgm:t>
    </dgm:pt>
    <dgm:pt modelId="{0A3F4683-1BA8-49B0-AF75-A82A6F9726EC}">
      <dgm:prSet/>
      <dgm:spPr/>
      <dgm:t>
        <a:bodyPr/>
        <a:lstStyle/>
        <a:p>
          <a:r>
            <a:rPr lang="en-US"/>
            <a:t>Broad custom visualization support</a:t>
          </a:r>
        </a:p>
      </dgm:t>
    </dgm:pt>
    <dgm:pt modelId="{15324882-F044-431C-8C59-A4017202C41D}" type="parTrans" cxnId="{94F00033-DBC6-4B3D-B7FD-961BC4282581}">
      <dgm:prSet/>
      <dgm:spPr/>
      <dgm:t>
        <a:bodyPr/>
        <a:lstStyle/>
        <a:p>
          <a:endParaRPr lang="en-US"/>
        </a:p>
      </dgm:t>
    </dgm:pt>
    <dgm:pt modelId="{65D9C054-DB32-433B-A955-45E2393ABA46}" type="sibTrans" cxnId="{94F00033-DBC6-4B3D-B7FD-961BC4282581}">
      <dgm:prSet/>
      <dgm:spPr/>
      <dgm:t>
        <a:bodyPr/>
        <a:lstStyle/>
        <a:p>
          <a:endParaRPr lang="en-US"/>
        </a:p>
      </dgm:t>
    </dgm:pt>
    <dgm:pt modelId="{A056E72A-1CB0-413F-9493-58065E6F643E}">
      <dgm:prSet/>
      <dgm:spPr/>
      <dgm:t>
        <a:bodyPr/>
        <a:lstStyle/>
        <a:p>
          <a:r>
            <a:rPr lang="en-US"/>
            <a:t>Visualize data using Monitor Workbooks</a:t>
          </a:r>
        </a:p>
      </dgm:t>
    </dgm:pt>
    <dgm:pt modelId="{7F84569A-3CD3-4A68-8337-F816756785AF}" type="parTrans" cxnId="{8F64EDF7-AE0C-4AAE-8B35-D815F890269F}">
      <dgm:prSet/>
      <dgm:spPr/>
      <dgm:t>
        <a:bodyPr/>
        <a:lstStyle/>
        <a:p>
          <a:endParaRPr lang="en-US"/>
        </a:p>
      </dgm:t>
    </dgm:pt>
    <dgm:pt modelId="{DEF58D52-8891-4D84-B1F4-E1E7F2A86262}" type="sibTrans" cxnId="{8F64EDF7-AE0C-4AAE-8B35-D815F890269F}">
      <dgm:prSet/>
      <dgm:spPr/>
      <dgm:t>
        <a:bodyPr/>
        <a:lstStyle/>
        <a:p>
          <a:endParaRPr lang="en-US"/>
        </a:p>
      </dgm:t>
    </dgm:pt>
    <dgm:pt modelId="{2AE6A2F8-1C04-4C37-846A-9AC30BD76290}">
      <dgm:prSet/>
      <dgm:spPr/>
      <dgm:t>
        <a:bodyPr/>
        <a:lstStyle/>
        <a:p>
          <a:r>
            <a:rPr lang="en-US"/>
            <a:t>Integrates with open-source monitoring tools</a:t>
          </a:r>
        </a:p>
      </dgm:t>
    </dgm:pt>
    <dgm:pt modelId="{426B4D74-EE68-4DCF-BC8B-732E7913DF94}" type="parTrans" cxnId="{04853F7B-573D-4D44-B88C-413FD3A10BE1}">
      <dgm:prSet/>
      <dgm:spPr/>
      <dgm:t>
        <a:bodyPr/>
        <a:lstStyle/>
        <a:p>
          <a:endParaRPr lang="en-US"/>
        </a:p>
      </dgm:t>
    </dgm:pt>
    <dgm:pt modelId="{5FFA0A49-E2DC-4B84-83AD-DB368983EE81}" type="sibTrans" cxnId="{04853F7B-573D-4D44-B88C-413FD3A10BE1}">
      <dgm:prSet/>
      <dgm:spPr/>
      <dgm:t>
        <a:bodyPr/>
        <a:lstStyle/>
        <a:p>
          <a:endParaRPr lang="en-US"/>
        </a:p>
      </dgm:t>
    </dgm:pt>
    <dgm:pt modelId="{6B0B410A-4F08-46F2-8211-1CAE9FB87AEB}">
      <dgm:prSet/>
      <dgm:spPr/>
      <dgm:t>
        <a:bodyPr/>
        <a:lstStyle/>
        <a:p>
          <a:r>
            <a:rPr lang="en-US"/>
            <a:t>Select from over 200 metrics</a:t>
          </a:r>
        </a:p>
      </dgm:t>
    </dgm:pt>
    <dgm:pt modelId="{B342857B-7100-4295-B7A3-A404214A6C1D}" type="parTrans" cxnId="{AF48D805-4382-42EE-979E-BB2D6A9D4B61}">
      <dgm:prSet/>
      <dgm:spPr/>
      <dgm:t>
        <a:bodyPr/>
        <a:lstStyle/>
        <a:p>
          <a:endParaRPr lang="en-US"/>
        </a:p>
      </dgm:t>
    </dgm:pt>
    <dgm:pt modelId="{06411694-4594-4077-96B3-2B268170C33D}" type="sibTrans" cxnId="{AF48D805-4382-42EE-979E-BB2D6A9D4B61}">
      <dgm:prSet/>
      <dgm:spPr/>
      <dgm:t>
        <a:bodyPr/>
        <a:lstStyle/>
        <a:p>
          <a:endParaRPr lang="en-US"/>
        </a:p>
      </dgm:t>
    </dgm:pt>
    <dgm:pt modelId="{F362006A-029A-43A9-A3EE-D077CE30DC37}" type="pres">
      <dgm:prSet presAssocID="{348FEA66-3640-4F5A-8CE1-65D9F2BF8FCA}" presName="linear" presStyleCnt="0">
        <dgm:presLayoutVars>
          <dgm:animLvl val="lvl"/>
          <dgm:resizeHandles val="exact"/>
        </dgm:presLayoutVars>
      </dgm:prSet>
      <dgm:spPr/>
    </dgm:pt>
    <dgm:pt modelId="{EB052C95-CA25-4807-A4B2-4557EC53033E}" type="pres">
      <dgm:prSet presAssocID="{953833CC-6D95-4CE3-ACAA-AA5772C8D2DD}" presName="parentText" presStyleLbl="node1" presStyleIdx="0" presStyleCnt="3">
        <dgm:presLayoutVars>
          <dgm:chMax val="0"/>
          <dgm:bulletEnabled val="1"/>
        </dgm:presLayoutVars>
      </dgm:prSet>
      <dgm:spPr/>
    </dgm:pt>
    <dgm:pt modelId="{A2C89A0A-8C01-457A-9F46-288F4356A6D3}" type="pres">
      <dgm:prSet presAssocID="{953833CC-6D95-4CE3-ACAA-AA5772C8D2DD}" presName="childText" presStyleLbl="revTx" presStyleIdx="0" presStyleCnt="3">
        <dgm:presLayoutVars>
          <dgm:bulletEnabled val="1"/>
        </dgm:presLayoutVars>
      </dgm:prSet>
      <dgm:spPr/>
    </dgm:pt>
    <dgm:pt modelId="{37304AC2-94C5-4FB3-BA86-347AC6895AD5}" type="pres">
      <dgm:prSet presAssocID="{95D7BFEB-AE45-4732-8CF7-3F712094FB10}" presName="parentText" presStyleLbl="node1" presStyleIdx="1" presStyleCnt="3">
        <dgm:presLayoutVars>
          <dgm:chMax val="0"/>
          <dgm:bulletEnabled val="1"/>
        </dgm:presLayoutVars>
      </dgm:prSet>
      <dgm:spPr/>
    </dgm:pt>
    <dgm:pt modelId="{48F2C858-DD19-45DB-941C-ACEE14928FA4}" type="pres">
      <dgm:prSet presAssocID="{95D7BFEB-AE45-4732-8CF7-3F712094FB10}" presName="childText" presStyleLbl="revTx" presStyleIdx="1" presStyleCnt="3">
        <dgm:presLayoutVars>
          <dgm:bulletEnabled val="1"/>
        </dgm:presLayoutVars>
      </dgm:prSet>
      <dgm:spPr/>
    </dgm:pt>
    <dgm:pt modelId="{AE90347D-771C-4AA8-845F-ED93B4A7616D}" type="pres">
      <dgm:prSet presAssocID="{0A3F4683-1BA8-49B0-AF75-A82A6F9726EC}" presName="parentText" presStyleLbl="node1" presStyleIdx="2" presStyleCnt="3">
        <dgm:presLayoutVars>
          <dgm:chMax val="0"/>
          <dgm:bulletEnabled val="1"/>
        </dgm:presLayoutVars>
      </dgm:prSet>
      <dgm:spPr/>
    </dgm:pt>
    <dgm:pt modelId="{4116B642-9679-4B7B-99C6-0D0B7382DCE8}" type="pres">
      <dgm:prSet presAssocID="{0A3F4683-1BA8-49B0-AF75-A82A6F9726EC}" presName="childText" presStyleLbl="revTx" presStyleIdx="2" presStyleCnt="3">
        <dgm:presLayoutVars>
          <dgm:bulletEnabled val="1"/>
        </dgm:presLayoutVars>
      </dgm:prSet>
      <dgm:spPr/>
    </dgm:pt>
  </dgm:ptLst>
  <dgm:cxnLst>
    <dgm:cxn modelId="{AF48D805-4382-42EE-979E-BB2D6A9D4B61}" srcId="{0A3F4683-1BA8-49B0-AF75-A82A6F9726EC}" destId="{6B0B410A-4F08-46F2-8211-1CAE9FB87AEB}" srcOrd="2" destOrd="0" parTransId="{B342857B-7100-4295-B7A3-A404214A6C1D}" sibTransId="{06411694-4594-4077-96B3-2B268170C33D}"/>
    <dgm:cxn modelId="{2CFAFE15-23C3-4C3B-A7F8-A467000CA815}" type="presOf" srcId="{6B0B410A-4F08-46F2-8211-1CAE9FB87AEB}" destId="{4116B642-9679-4B7B-99C6-0D0B7382DCE8}" srcOrd="0" destOrd="2" presId="urn:microsoft.com/office/officeart/2005/8/layout/vList2"/>
    <dgm:cxn modelId="{79D50D1F-032E-4A61-938C-0345FA38DFD7}" type="presOf" srcId="{89B7ACB7-33F1-4030-AE62-2033D0BEB244}" destId="{A2C89A0A-8C01-457A-9F46-288F4356A6D3}" srcOrd="0" destOrd="2" presId="urn:microsoft.com/office/officeart/2005/8/layout/vList2"/>
    <dgm:cxn modelId="{B1D6DA24-A86B-4A6F-8DB7-32AD1AF9AB91}" srcId="{953833CC-6D95-4CE3-ACAA-AA5772C8D2DD}" destId="{89B7ACB7-33F1-4030-AE62-2033D0BEB244}" srcOrd="2" destOrd="0" parTransId="{E209EED3-0006-4FF0-82D9-3AA935073DB0}" sibTransId="{6364197E-55B9-4EC7-97DA-368D505F450E}"/>
    <dgm:cxn modelId="{79B33431-3ACC-405E-9750-FA97E47AC3C8}" srcId="{95D7BFEB-AE45-4732-8CF7-3F712094FB10}" destId="{CABE9E85-98D8-4330-809F-EB6959A6AD3F}" srcOrd="1" destOrd="0" parTransId="{C9A98E85-8D8C-4011-9327-1B71A1A7A1E0}" sibTransId="{CB2919E5-32E9-46E4-930F-6628D6C40799}"/>
    <dgm:cxn modelId="{94F00033-DBC6-4B3D-B7FD-961BC4282581}" srcId="{348FEA66-3640-4F5A-8CE1-65D9F2BF8FCA}" destId="{0A3F4683-1BA8-49B0-AF75-A82A6F9726EC}" srcOrd="2" destOrd="0" parTransId="{15324882-F044-431C-8C59-A4017202C41D}" sibTransId="{65D9C054-DB32-433B-A955-45E2393ABA46}"/>
    <dgm:cxn modelId="{6A26FF33-BFBB-40CC-893C-C5D31E723C20}" type="presOf" srcId="{348FEA66-3640-4F5A-8CE1-65D9F2BF8FCA}" destId="{F362006A-029A-43A9-A3EE-D077CE30DC37}" srcOrd="0" destOrd="0" presId="urn:microsoft.com/office/officeart/2005/8/layout/vList2"/>
    <dgm:cxn modelId="{01982D40-5C42-46FB-B7D9-72EC0E52F4BF}" srcId="{953833CC-6D95-4CE3-ACAA-AA5772C8D2DD}" destId="{AFEA749C-3F03-4BF6-A110-CBE49D0024CB}" srcOrd="0" destOrd="0" parTransId="{E0F2F7D1-FFB4-4509-ABF0-A734EC7CD8F5}" sibTransId="{604FD044-48D1-433B-B8AD-BF82208FA633}"/>
    <dgm:cxn modelId="{707D6B5E-A18D-4CD6-8406-D53155CF55A6}" srcId="{95D7BFEB-AE45-4732-8CF7-3F712094FB10}" destId="{417BB92C-DCCA-460E-BEB3-BFD51839FE44}" srcOrd="2" destOrd="0" parTransId="{A3D1337F-2D78-4439-B5EF-ED0A81E09FF3}" sibTransId="{B7E5954B-FCB9-4842-A959-B12607E26A32}"/>
    <dgm:cxn modelId="{DDDA1262-C85A-48A4-BA63-16C7D9C56FCE}" srcId="{348FEA66-3640-4F5A-8CE1-65D9F2BF8FCA}" destId="{95D7BFEB-AE45-4732-8CF7-3F712094FB10}" srcOrd="1" destOrd="0" parTransId="{FB78AA71-7BF8-4F05-AB79-097D79FB6D23}" sibTransId="{0EF05AD1-3271-4B9E-81E6-B1EBF744C4F3}"/>
    <dgm:cxn modelId="{C27B7E63-7359-43E7-A06A-0708C2C7C638}" type="presOf" srcId="{0A3F4683-1BA8-49B0-AF75-A82A6F9726EC}" destId="{AE90347D-771C-4AA8-845F-ED93B4A7616D}" srcOrd="0" destOrd="0" presId="urn:microsoft.com/office/officeart/2005/8/layout/vList2"/>
    <dgm:cxn modelId="{752CA96B-493D-4308-86E5-61EC10F92532}" type="presOf" srcId="{AFEA749C-3F03-4BF6-A110-CBE49D0024CB}" destId="{A2C89A0A-8C01-457A-9F46-288F4356A6D3}" srcOrd="0" destOrd="0" presId="urn:microsoft.com/office/officeart/2005/8/layout/vList2"/>
    <dgm:cxn modelId="{6266AC73-E812-4564-A9B2-E7AAF0970AA7}" srcId="{953833CC-6D95-4CE3-ACAA-AA5772C8D2DD}" destId="{91F5B93C-5970-4923-A150-7D95FB623647}" srcOrd="3" destOrd="0" parTransId="{4BB615E6-6DAB-484E-BA74-9F3062EDFAAB}" sibTransId="{55AFFB6D-8BC3-47C6-B5F7-A168B93549DD}"/>
    <dgm:cxn modelId="{FE24F577-7949-4727-97A7-88A95EFB0D81}" type="presOf" srcId="{C783DF0D-5303-4BB2-8AA2-28D5A43E2DF0}" destId="{A2C89A0A-8C01-457A-9F46-288F4356A6D3}" srcOrd="0" destOrd="1" presId="urn:microsoft.com/office/officeart/2005/8/layout/vList2"/>
    <dgm:cxn modelId="{A8F76778-4707-4930-8F75-232A42BE9718}" type="presOf" srcId="{D6A9943D-9C09-4416-8DBD-EF9502DB6C89}" destId="{48F2C858-DD19-45DB-941C-ACEE14928FA4}" srcOrd="0" destOrd="0" presId="urn:microsoft.com/office/officeart/2005/8/layout/vList2"/>
    <dgm:cxn modelId="{04853F7B-573D-4D44-B88C-413FD3A10BE1}" srcId="{0A3F4683-1BA8-49B0-AF75-A82A6F9726EC}" destId="{2AE6A2F8-1C04-4C37-846A-9AC30BD76290}" srcOrd="1" destOrd="0" parTransId="{426B4D74-EE68-4DCF-BC8B-732E7913DF94}" sibTransId="{5FFA0A49-E2DC-4B84-83AD-DB368983EE81}"/>
    <dgm:cxn modelId="{9B01417B-7C29-441B-9198-54B30303BB19}" type="presOf" srcId="{417BB92C-DCCA-460E-BEB3-BFD51839FE44}" destId="{48F2C858-DD19-45DB-941C-ACEE14928FA4}" srcOrd="0" destOrd="2" presId="urn:microsoft.com/office/officeart/2005/8/layout/vList2"/>
    <dgm:cxn modelId="{EC39E67B-BC19-42A3-8A82-DB18577C5F68}" srcId="{95D7BFEB-AE45-4732-8CF7-3F712094FB10}" destId="{D6A9943D-9C09-4416-8DBD-EF9502DB6C89}" srcOrd="0" destOrd="0" parTransId="{F6D7F2BD-101B-483F-81E5-78EFC59E15A0}" sibTransId="{1E3FF77F-1EE1-4994-93DA-251AFD9DD456}"/>
    <dgm:cxn modelId="{715B5381-0EA4-4D10-89BB-E2D982C89396}" type="presOf" srcId="{91F5B93C-5970-4923-A150-7D95FB623647}" destId="{A2C89A0A-8C01-457A-9F46-288F4356A6D3}" srcOrd="0" destOrd="3" presId="urn:microsoft.com/office/officeart/2005/8/layout/vList2"/>
    <dgm:cxn modelId="{B64AF6A4-07DB-4B45-A6A4-F90D1418AADC}" type="presOf" srcId="{2AE6A2F8-1C04-4C37-846A-9AC30BD76290}" destId="{4116B642-9679-4B7B-99C6-0D0B7382DCE8}" srcOrd="0" destOrd="1" presId="urn:microsoft.com/office/officeart/2005/8/layout/vList2"/>
    <dgm:cxn modelId="{7B351AB1-71AA-4B84-8365-D134C004FFAF}" type="presOf" srcId="{953833CC-6D95-4CE3-ACAA-AA5772C8D2DD}" destId="{EB052C95-CA25-4807-A4B2-4557EC53033E}" srcOrd="0" destOrd="0" presId="urn:microsoft.com/office/officeart/2005/8/layout/vList2"/>
    <dgm:cxn modelId="{B17C85C6-B61F-4660-AD6D-88DE0F5DDDDA}" srcId="{348FEA66-3640-4F5A-8CE1-65D9F2BF8FCA}" destId="{953833CC-6D95-4CE3-ACAA-AA5772C8D2DD}" srcOrd="0" destOrd="0" parTransId="{965A3089-19EF-4F8F-A43D-A4A6F8C0AD3A}" sibTransId="{1512AA64-4B58-4F7C-A692-B67C990FBF65}"/>
    <dgm:cxn modelId="{CEBAB1D4-0DB2-4891-930D-69781C05B7C3}" type="presOf" srcId="{CABE9E85-98D8-4330-809F-EB6959A6AD3F}" destId="{48F2C858-DD19-45DB-941C-ACEE14928FA4}" srcOrd="0" destOrd="1" presId="urn:microsoft.com/office/officeart/2005/8/layout/vList2"/>
    <dgm:cxn modelId="{62AE1ED5-730C-4DF0-97C1-012895763FAD}" type="presOf" srcId="{95D7BFEB-AE45-4732-8CF7-3F712094FB10}" destId="{37304AC2-94C5-4FB3-BA86-347AC6895AD5}" srcOrd="0" destOrd="0" presId="urn:microsoft.com/office/officeart/2005/8/layout/vList2"/>
    <dgm:cxn modelId="{35042FD5-FE63-450D-ACDB-39B057D1406B}" type="presOf" srcId="{A056E72A-1CB0-413F-9493-58065E6F643E}" destId="{4116B642-9679-4B7B-99C6-0D0B7382DCE8}" srcOrd="0" destOrd="0" presId="urn:microsoft.com/office/officeart/2005/8/layout/vList2"/>
    <dgm:cxn modelId="{23774AE5-B9F1-4651-AB86-2FF31A15E728}" srcId="{953833CC-6D95-4CE3-ACAA-AA5772C8D2DD}" destId="{C783DF0D-5303-4BB2-8AA2-28D5A43E2DF0}" srcOrd="1" destOrd="0" parTransId="{58E3CE10-4A33-461F-BC06-751C531B0179}" sibTransId="{308647CA-9EFB-4D25-A552-7F915DF11522}"/>
    <dgm:cxn modelId="{8F64EDF7-AE0C-4AAE-8B35-D815F890269F}" srcId="{0A3F4683-1BA8-49B0-AF75-A82A6F9726EC}" destId="{A056E72A-1CB0-413F-9493-58065E6F643E}" srcOrd="0" destOrd="0" parTransId="{7F84569A-3CD3-4A68-8337-F816756785AF}" sibTransId="{DEF58D52-8891-4D84-B1F4-E1E7F2A86262}"/>
    <dgm:cxn modelId="{78BA2FC2-D1DA-4BDA-B709-B5003E37722F}" type="presParOf" srcId="{F362006A-029A-43A9-A3EE-D077CE30DC37}" destId="{EB052C95-CA25-4807-A4B2-4557EC53033E}" srcOrd="0" destOrd="0" presId="urn:microsoft.com/office/officeart/2005/8/layout/vList2"/>
    <dgm:cxn modelId="{92CD4C7C-4484-4B0C-963A-4EAED9D37510}" type="presParOf" srcId="{F362006A-029A-43A9-A3EE-D077CE30DC37}" destId="{A2C89A0A-8C01-457A-9F46-288F4356A6D3}" srcOrd="1" destOrd="0" presId="urn:microsoft.com/office/officeart/2005/8/layout/vList2"/>
    <dgm:cxn modelId="{59A97F82-404B-466A-81F8-06C204CEF6AC}" type="presParOf" srcId="{F362006A-029A-43A9-A3EE-D077CE30DC37}" destId="{37304AC2-94C5-4FB3-BA86-347AC6895AD5}" srcOrd="2" destOrd="0" presId="urn:microsoft.com/office/officeart/2005/8/layout/vList2"/>
    <dgm:cxn modelId="{E16DA73B-F568-4294-AF3C-078E6EDCAFC2}" type="presParOf" srcId="{F362006A-029A-43A9-A3EE-D077CE30DC37}" destId="{48F2C858-DD19-45DB-941C-ACEE14928FA4}" srcOrd="3" destOrd="0" presId="urn:microsoft.com/office/officeart/2005/8/layout/vList2"/>
    <dgm:cxn modelId="{466A9B3C-99B0-4508-BAE4-13121FF4A028}" type="presParOf" srcId="{F362006A-029A-43A9-A3EE-D077CE30DC37}" destId="{AE90347D-771C-4AA8-845F-ED93B4A7616D}" srcOrd="4" destOrd="0" presId="urn:microsoft.com/office/officeart/2005/8/layout/vList2"/>
    <dgm:cxn modelId="{09AB7701-3352-4567-8E9F-AA3EC83879E8}" type="presParOf" srcId="{F362006A-029A-43A9-A3EE-D077CE30DC37}" destId="{4116B642-9679-4B7B-99C6-0D0B7382DCE8}" srcOrd="5"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424C43-B76A-4FE6-AFB6-0DDFDF826F18}">
      <dsp:nvSpPr>
        <dsp:cNvPr id="0" name=""/>
        <dsp:cNvSpPr/>
      </dsp:nvSpPr>
      <dsp:spPr>
        <a:xfrm>
          <a:off x="0" y="3765"/>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6C9610-7FD3-45FD-B025-B6951F0F16B6}">
      <dsp:nvSpPr>
        <dsp:cNvPr id="0" name=""/>
        <dsp:cNvSpPr/>
      </dsp:nvSpPr>
      <dsp:spPr>
        <a:xfrm>
          <a:off x="242611" y="184219"/>
          <a:ext cx="441110" cy="44111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l="10417" r="10417"/>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F9D693D-3FAE-4BC3-9FD4-599D0DE9501F}">
      <dsp:nvSpPr>
        <dsp:cNvPr id="0" name=""/>
        <dsp:cNvSpPr/>
      </dsp:nvSpPr>
      <dsp:spPr>
        <a:xfrm>
          <a:off x="926332" y="3765"/>
          <a:ext cx="9954393"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What is Azure Monitor?</a:t>
          </a:r>
        </a:p>
      </dsp:txBody>
      <dsp:txXfrm>
        <a:off x="926332" y="3765"/>
        <a:ext cx="9954393" cy="802019"/>
      </dsp:txXfrm>
    </dsp:sp>
    <dsp:sp modelId="{F7935257-6E27-4E30-AA4C-7886053DFF89}">
      <dsp:nvSpPr>
        <dsp:cNvPr id="0" name=""/>
        <dsp:cNvSpPr/>
      </dsp:nvSpPr>
      <dsp:spPr>
        <a:xfrm>
          <a:off x="0" y="1006290"/>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2F0D577-451E-499B-9BA5-907C6E369216}">
      <dsp:nvSpPr>
        <dsp:cNvPr id="0" name=""/>
        <dsp:cNvSpPr/>
      </dsp:nvSpPr>
      <dsp:spPr>
        <a:xfrm>
          <a:off x="242611" y="1186744"/>
          <a:ext cx="441110" cy="44111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1091981-96F3-4100-B623-8E04F24EF551}">
      <dsp:nvSpPr>
        <dsp:cNvPr id="0" name=""/>
        <dsp:cNvSpPr/>
      </dsp:nvSpPr>
      <dsp:spPr>
        <a:xfrm>
          <a:off x="926332" y="1006290"/>
          <a:ext cx="9954393"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Azure Monitor Metrics</a:t>
          </a:r>
        </a:p>
      </dsp:txBody>
      <dsp:txXfrm>
        <a:off x="926332" y="1006290"/>
        <a:ext cx="9954393" cy="802019"/>
      </dsp:txXfrm>
    </dsp:sp>
    <dsp:sp modelId="{6585374A-9E18-4057-B3FB-1DBF61C5E62D}">
      <dsp:nvSpPr>
        <dsp:cNvPr id="0" name=""/>
        <dsp:cNvSpPr/>
      </dsp:nvSpPr>
      <dsp:spPr>
        <a:xfrm>
          <a:off x="0" y="2008815"/>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826A16C-BD45-4211-B104-03DCC918AD98}">
      <dsp:nvSpPr>
        <dsp:cNvPr id="0" name=""/>
        <dsp:cNvSpPr/>
      </dsp:nvSpPr>
      <dsp:spPr>
        <a:xfrm>
          <a:off x="242611" y="2189269"/>
          <a:ext cx="441110" cy="4411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81A821F-85AE-4238-B629-A82C9E1C61E7}">
      <dsp:nvSpPr>
        <dsp:cNvPr id="0" name=""/>
        <dsp:cNvSpPr/>
      </dsp:nvSpPr>
      <dsp:spPr>
        <a:xfrm>
          <a:off x="926332" y="2008815"/>
          <a:ext cx="9954393"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Azure Monitor Alerts</a:t>
          </a:r>
        </a:p>
      </dsp:txBody>
      <dsp:txXfrm>
        <a:off x="926332" y="2008815"/>
        <a:ext cx="9954393" cy="802019"/>
      </dsp:txXfrm>
    </dsp:sp>
    <dsp:sp modelId="{432EF4BE-F406-4B4D-BBF4-C5A87BF9A125}">
      <dsp:nvSpPr>
        <dsp:cNvPr id="0" name=""/>
        <dsp:cNvSpPr/>
      </dsp:nvSpPr>
      <dsp:spPr>
        <a:xfrm>
          <a:off x="0" y="3011339"/>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D0A68A-6E3A-4E4E-9C79-1EB63F37C4FB}">
      <dsp:nvSpPr>
        <dsp:cNvPr id="0" name=""/>
        <dsp:cNvSpPr/>
      </dsp:nvSpPr>
      <dsp:spPr>
        <a:xfrm>
          <a:off x="242611" y="3191794"/>
          <a:ext cx="441110" cy="44111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t="18539" b="18539"/>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FCDFB1-D1F0-491A-93AB-8F20034FD9F1}">
      <dsp:nvSpPr>
        <dsp:cNvPr id="0" name=""/>
        <dsp:cNvSpPr/>
      </dsp:nvSpPr>
      <dsp:spPr>
        <a:xfrm>
          <a:off x="926332" y="3011339"/>
          <a:ext cx="9954393"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Azure Monitor Logs</a:t>
          </a:r>
        </a:p>
      </dsp:txBody>
      <dsp:txXfrm>
        <a:off x="926332" y="3011339"/>
        <a:ext cx="9954393" cy="802019"/>
      </dsp:txXfrm>
    </dsp:sp>
    <dsp:sp modelId="{C75D4B41-E7B4-4EBF-9284-46B2170C0834}">
      <dsp:nvSpPr>
        <dsp:cNvPr id="0" name=""/>
        <dsp:cNvSpPr/>
      </dsp:nvSpPr>
      <dsp:spPr>
        <a:xfrm>
          <a:off x="0" y="4013864"/>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E4537A-3333-47B2-95A7-4A272B567388}">
      <dsp:nvSpPr>
        <dsp:cNvPr id="0" name=""/>
        <dsp:cNvSpPr/>
      </dsp:nvSpPr>
      <dsp:spPr>
        <a:xfrm>
          <a:off x="242611" y="4194319"/>
          <a:ext cx="441110" cy="44111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324765D-214B-45BE-877B-6D5B44B1AAD8}">
      <dsp:nvSpPr>
        <dsp:cNvPr id="0" name=""/>
        <dsp:cNvSpPr/>
      </dsp:nvSpPr>
      <dsp:spPr>
        <a:xfrm>
          <a:off x="926332" y="4013864"/>
          <a:ext cx="9954393"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Demonstration</a:t>
          </a:r>
        </a:p>
      </dsp:txBody>
      <dsp:txXfrm>
        <a:off x="926332" y="4013864"/>
        <a:ext cx="9954393" cy="8020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391FB6-B363-43B4-A61A-8E77F77F6DE0}">
      <dsp:nvSpPr>
        <dsp:cNvPr id="0" name=""/>
        <dsp:cNvSpPr/>
      </dsp:nvSpPr>
      <dsp:spPr>
        <a:xfrm>
          <a:off x="0" y="1503530"/>
          <a:ext cx="11372850" cy="212940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i="0" kern="1200" dirty="0"/>
            <a:t>Azure Monitor Metrics stores numeric data in a time-series database, which makes this data more lightweight than Azure Monitor Logs and capable of supporting near real-time scenarios making them particularly useful for alerting and fast detection of issues</a:t>
          </a:r>
        </a:p>
      </dsp:txBody>
      <dsp:txXfrm>
        <a:off x="103949" y="1607479"/>
        <a:ext cx="11164952" cy="19215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349230-2313-45AF-81B1-C2AF503A5371}">
      <dsp:nvSpPr>
        <dsp:cNvPr id="0" name=""/>
        <dsp:cNvSpPr/>
      </dsp:nvSpPr>
      <dsp:spPr>
        <a:xfrm>
          <a:off x="0" y="255556"/>
          <a:ext cx="10880726" cy="428400"/>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503A02E-5FEA-4B2B-A585-E6B0E09C813B}">
      <dsp:nvSpPr>
        <dsp:cNvPr id="0" name=""/>
        <dsp:cNvSpPr/>
      </dsp:nvSpPr>
      <dsp:spPr>
        <a:xfrm>
          <a:off x="544036" y="4636"/>
          <a:ext cx="7616508" cy="50184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a:t>Customizable</a:t>
          </a:r>
          <a:endParaRPr lang="en-US" sz="2400" kern="1200"/>
        </a:p>
      </dsp:txBody>
      <dsp:txXfrm>
        <a:off x="568534" y="29134"/>
        <a:ext cx="7567512" cy="452844"/>
      </dsp:txXfrm>
    </dsp:sp>
    <dsp:sp modelId="{5578B24C-2F28-4E2D-8F47-E81203706E5C}">
      <dsp:nvSpPr>
        <dsp:cNvPr id="0" name=""/>
        <dsp:cNvSpPr/>
      </dsp:nvSpPr>
      <dsp:spPr>
        <a:xfrm>
          <a:off x="0" y="1026676"/>
          <a:ext cx="10880726" cy="1660050"/>
        </a:xfrm>
        <a:prstGeom prst="rect">
          <a:avLst/>
        </a:prstGeom>
        <a:solidFill>
          <a:schemeClr val="lt1">
            <a:alpha val="90000"/>
            <a:hueOff val="0"/>
            <a:satOff val="0"/>
            <a:lumOff val="0"/>
            <a:alphaOff val="0"/>
          </a:schemeClr>
        </a:solidFill>
        <a:ln w="10795" cap="flat" cmpd="sng" algn="ctr">
          <a:solidFill>
            <a:schemeClr val="accent2">
              <a:hueOff val="-889166"/>
              <a:satOff val="18461"/>
              <a:lumOff val="19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Resources</a:t>
          </a:r>
          <a:endParaRPr lang="en-US" sz="1700" kern="1200"/>
        </a:p>
        <a:p>
          <a:pPr marL="171450" lvl="1" indent="-171450" algn="l" defTabSz="755650">
            <a:lnSpc>
              <a:spcPct val="90000"/>
            </a:lnSpc>
            <a:spcBef>
              <a:spcPct val="0"/>
            </a:spcBef>
            <a:spcAft>
              <a:spcPct val="15000"/>
            </a:spcAft>
            <a:buChar char="•"/>
          </a:pPr>
          <a:r>
            <a:rPr lang="en-US" sz="1700" kern="1200" baseline="0"/>
            <a:t>Metrics</a:t>
          </a:r>
          <a:endParaRPr lang="en-US" sz="1700" kern="1200"/>
        </a:p>
        <a:p>
          <a:pPr marL="171450" lvl="1" indent="-171450" algn="l" defTabSz="755650">
            <a:lnSpc>
              <a:spcPct val="90000"/>
            </a:lnSpc>
            <a:spcBef>
              <a:spcPct val="0"/>
            </a:spcBef>
            <a:spcAft>
              <a:spcPct val="15000"/>
            </a:spcAft>
            <a:buChar char="•"/>
          </a:pPr>
          <a:r>
            <a:rPr lang="en-US" sz="1700" kern="1200" baseline="0"/>
            <a:t>Log analytics charts</a:t>
          </a:r>
          <a:endParaRPr lang="en-US" sz="1700" kern="1200"/>
        </a:p>
        <a:p>
          <a:pPr marL="171450" lvl="1" indent="-171450" algn="l" defTabSz="755650">
            <a:lnSpc>
              <a:spcPct val="90000"/>
            </a:lnSpc>
            <a:spcBef>
              <a:spcPct val="0"/>
            </a:spcBef>
            <a:spcAft>
              <a:spcPct val="15000"/>
            </a:spcAft>
            <a:buChar char="•"/>
          </a:pPr>
          <a:r>
            <a:rPr lang="en-US" sz="1700" kern="1200" baseline="0" dirty="0"/>
            <a:t>Text boxes</a:t>
          </a:r>
          <a:endParaRPr lang="en-US" sz="1700" kern="1200" dirty="0"/>
        </a:p>
      </dsp:txBody>
      <dsp:txXfrm>
        <a:off x="0" y="1026676"/>
        <a:ext cx="10880726" cy="1660050"/>
      </dsp:txXfrm>
    </dsp:sp>
    <dsp:sp modelId="{572FD0F1-E10A-4611-B89E-82BF781D30EC}">
      <dsp:nvSpPr>
        <dsp:cNvPr id="0" name=""/>
        <dsp:cNvSpPr/>
      </dsp:nvSpPr>
      <dsp:spPr>
        <a:xfrm>
          <a:off x="544036" y="775756"/>
          <a:ext cx="7616508" cy="501840"/>
        </a:xfrm>
        <a:prstGeom prst="roundRect">
          <a:avLst/>
        </a:prstGeom>
        <a:solidFill>
          <a:schemeClr val="accent2">
            <a:hueOff val="-889166"/>
            <a:satOff val="18461"/>
            <a:lumOff val="1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a:t>Pin:</a:t>
          </a:r>
          <a:endParaRPr lang="en-US" sz="2400" kern="1200"/>
        </a:p>
      </dsp:txBody>
      <dsp:txXfrm>
        <a:off x="568534" y="800254"/>
        <a:ext cx="7567512" cy="452844"/>
      </dsp:txXfrm>
    </dsp:sp>
    <dsp:sp modelId="{2C569307-1994-4D42-B431-6E2C13261F0A}">
      <dsp:nvSpPr>
        <dsp:cNvPr id="0" name=""/>
        <dsp:cNvSpPr/>
      </dsp:nvSpPr>
      <dsp:spPr>
        <a:xfrm>
          <a:off x="0" y="3029446"/>
          <a:ext cx="10880726" cy="428400"/>
        </a:xfrm>
        <a:prstGeom prst="rect">
          <a:avLst/>
        </a:prstGeom>
        <a:solidFill>
          <a:schemeClr val="lt1">
            <a:alpha val="90000"/>
            <a:hueOff val="0"/>
            <a:satOff val="0"/>
            <a:lumOff val="0"/>
            <a:alphaOff val="0"/>
          </a:schemeClr>
        </a:solidFill>
        <a:ln w="10795" cap="flat" cmpd="sng" algn="ctr">
          <a:solidFill>
            <a:schemeClr val="accent2">
              <a:hueOff val="-1778331"/>
              <a:satOff val="36921"/>
              <a:lumOff val="392"/>
              <a:alphaOff val="0"/>
            </a:schemeClr>
          </a:solidFill>
          <a:prstDash val="solid"/>
        </a:ln>
        <a:effectLst/>
      </dsp:spPr>
      <dsp:style>
        <a:lnRef idx="2">
          <a:scrgbClr r="0" g="0" b="0"/>
        </a:lnRef>
        <a:fillRef idx="1">
          <a:scrgbClr r="0" g="0" b="0"/>
        </a:fillRef>
        <a:effectRef idx="0">
          <a:scrgbClr r="0" g="0" b="0"/>
        </a:effectRef>
        <a:fontRef idx="minor"/>
      </dsp:style>
    </dsp:sp>
    <dsp:sp modelId="{1993639A-8217-4361-9C41-0C2F682E2B07}">
      <dsp:nvSpPr>
        <dsp:cNvPr id="0" name=""/>
        <dsp:cNvSpPr/>
      </dsp:nvSpPr>
      <dsp:spPr>
        <a:xfrm>
          <a:off x="544036" y="2778526"/>
          <a:ext cx="7616508" cy="501840"/>
        </a:xfrm>
        <a:prstGeom prst="roundRect">
          <a:avLst/>
        </a:prstGeom>
        <a:solidFill>
          <a:schemeClr val="accent2">
            <a:hueOff val="-1778331"/>
            <a:satOff val="36921"/>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a:t>Private or shared</a:t>
          </a:r>
          <a:endParaRPr lang="en-US" sz="2400" kern="1200"/>
        </a:p>
      </dsp:txBody>
      <dsp:txXfrm>
        <a:off x="568534" y="2803024"/>
        <a:ext cx="7567512" cy="452844"/>
      </dsp:txXfrm>
    </dsp:sp>
    <dsp:sp modelId="{2A93174C-7EA7-40BD-B27F-9D8CA23E163D}">
      <dsp:nvSpPr>
        <dsp:cNvPr id="0" name=""/>
        <dsp:cNvSpPr/>
      </dsp:nvSpPr>
      <dsp:spPr>
        <a:xfrm>
          <a:off x="0" y="3800566"/>
          <a:ext cx="10880726" cy="1338750"/>
        </a:xfrm>
        <a:prstGeom prst="rect">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Download JSON – save for backup purposes</a:t>
          </a:r>
          <a:endParaRPr lang="en-US" sz="1700" kern="1200"/>
        </a:p>
        <a:p>
          <a:pPr marL="171450" lvl="1" indent="-171450" algn="l" defTabSz="755650">
            <a:lnSpc>
              <a:spcPct val="90000"/>
            </a:lnSpc>
            <a:spcBef>
              <a:spcPct val="0"/>
            </a:spcBef>
            <a:spcAft>
              <a:spcPct val="15000"/>
            </a:spcAft>
            <a:buChar char="•"/>
          </a:pPr>
          <a:r>
            <a:rPr lang="en-US" sz="1700" kern="1200" baseline="0"/>
            <a:t>Replace references from one server/database to the other</a:t>
          </a:r>
          <a:endParaRPr lang="en-US" sz="1700" kern="1200"/>
        </a:p>
        <a:p>
          <a:pPr marL="171450" lvl="1" indent="-171450" algn="l" defTabSz="755650">
            <a:lnSpc>
              <a:spcPct val="90000"/>
            </a:lnSpc>
            <a:spcBef>
              <a:spcPct val="0"/>
            </a:spcBef>
            <a:spcAft>
              <a:spcPct val="15000"/>
            </a:spcAft>
            <a:buChar char="•"/>
          </a:pPr>
          <a:r>
            <a:rPr lang="en-US" sz="1700" kern="1200" baseline="0"/>
            <a:t>Upload as new dashboard</a:t>
          </a:r>
          <a:endParaRPr lang="en-US" sz="1700" kern="1200"/>
        </a:p>
      </dsp:txBody>
      <dsp:txXfrm>
        <a:off x="0" y="3800566"/>
        <a:ext cx="10880726" cy="1338750"/>
      </dsp:txXfrm>
    </dsp:sp>
    <dsp:sp modelId="{09E63B06-7F12-4120-9380-278C60037885}">
      <dsp:nvSpPr>
        <dsp:cNvPr id="0" name=""/>
        <dsp:cNvSpPr/>
      </dsp:nvSpPr>
      <dsp:spPr>
        <a:xfrm>
          <a:off x="544036" y="3549646"/>
          <a:ext cx="7616508" cy="50184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a:t>Back-up or copy</a:t>
          </a:r>
          <a:endParaRPr lang="en-US" sz="2400" kern="1200"/>
        </a:p>
      </dsp:txBody>
      <dsp:txXfrm>
        <a:off x="568534" y="3574144"/>
        <a:ext cx="7567512" cy="4528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42891A-472D-4721-9991-0B11C540B3B7}">
      <dsp:nvSpPr>
        <dsp:cNvPr id="0" name=""/>
        <dsp:cNvSpPr/>
      </dsp:nvSpPr>
      <dsp:spPr>
        <a:xfrm>
          <a:off x="0" y="301414"/>
          <a:ext cx="10880726" cy="504000"/>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652A6A-0D82-4255-83DD-407C1A5FE4B9}">
      <dsp:nvSpPr>
        <dsp:cNvPr id="0" name=""/>
        <dsp:cNvSpPr/>
      </dsp:nvSpPr>
      <dsp:spPr>
        <a:xfrm>
          <a:off x="544036" y="6214"/>
          <a:ext cx="7616508" cy="59040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t>Append-only log data</a:t>
          </a:r>
          <a:endParaRPr lang="en-US" sz="2000" kern="1200"/>
        </a:p>
      </dsp:txBody>
      <dsp:txXfrm>
        <a:off x="572857" y="35035"/>
        <a:ext cx="7558866" cy="532758"/>
      </dsp:txXfrm>
    </dsp:sp>
    <dsp:sp modelId="{CB134718-C98F-4058-B691-9C36E36B0687}">
      <dsp:nvSpPr>
        <dsp:cNvPr id="0" name=""/>
        <dsp:cNvSpPr/>
      </dsp:nvSpPr>
      <dsp:spPr>
        <a:xfrm>
          <a:off x="0" y="1208614"/>
          <a:ext cx="10880726" cy="866250"/>
        </a:xfrm>
        <a:prstGeom prst="rect">
          <a:avLst/>
        </a:prstGeom>
        <a:solidFill>
          <a:schemeClr val="lt1">
            <a:alpha val="90000"/>
            <a:hueOff val="0"/>
            <a:satOff val="0"/>
            <a:lumOff val="0"/>
            <a:alphaOff val="0"/>
          </a:schemeClr>
        </a:solidFill>
        <a:ln w="10795" cap="flat" cmpd="sng" algn="ctr">
          <a:solidFill>
            <a:schemeClr val="accent2">
              <a:hueOff val="-889166"/>
              <a:satOff val="18461"/>
              <a:lumOff val="19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416560"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SQL-Like language</a:t>
          </a:r>
          <a:endParaRPr lang="en-US" sz="2000" kern="1200"/>
        </a:p>
      </dsp:txBody>
      <dsp:txXfrm>
        <a:off x="0" y="1208614"/>
        <a:ext cx="10880726" cy="866250"/>
      </dsp:txXfrm>
    </dsp:sp>
    <dsp:sp modelId="{0D78B05D-CFCC-44E8-BB24-CA4A39117823}">
      <dsp:nvSpPr>
        <dsp:cNvPr id="0" name=""/>
        <dsp:cNvSpPr/>
      </dsp:nvSpPr>
      <dsp:spPr>
        <a:xfrm>
          <a:off x="544036" y="913414"/>
          <a:ext cx="7616508" cy="590400"/>
        </a:xfrm>
        <a:prstGeom prst="roundRect">
          <a:avLst/>
        </a:prstGeom>
        <a:solidFill>
          <a:schemeClr val="accent2">
            <a:hueOff val="-889166"/>
            <a:satOff val="18461"/>
            <a:lumOff val="1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dirty="0"/>
            <a:t>Queried using Kusto Query Language (KQL)</a:t>
          </a:r>
          <a:endParaRPr lang="en-US" sz="2000" kern="1200" dirty="0"/>
        </a:p>
      </dsp:txBody>
      <dsp:txXfrm>
        <a:off x="572857" y="942235"/>
        <a:ext cx="7558866" cy="532758"/>
      </dsp:txXfrm>
    </dsp:sp>
    <dsp:sp modelId="{70CB5B88-B176-4B68-8EA3-2590F48FCC40}">
      <dsp:nvSpPr>
        <dsp:cNvPr id="0" name=""/>
        <dsp:cNvSpPr/>
      </dsp:nvSpPr>
      <dsp:spPr>
        <a:xfrm>
          <a:off x="0" y="2478064"/>
          <a:ext cx="10880726" cy="1228500"/>
        </a:xfrm>
        <a:prstGeom prst="rect">
          <a:avLst/>
        </a:prstGeom>
        <a:solidFill>
          <a:schemeClr val="lt1">
            <a:alpha val="90000"/>
            <a:hueOff val="0"/>
            <a:satOff val="0"/>
            <a:lumOff val="0"/>
            <a:alphaOff val="0"/>
          </a:schemeClr>
        </a:solidFill>
        <a:ln w="10795" cap="flat" cmpd="sng" algn="ctr">
          <a:solidFill>
            <a:schemeClr val="accent2">
              <a:hueOff val="-1778331"/>
              <a:satOff val="3692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416560"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Pay-by-ingestion</a:t>
          </a:r>
          <a:endParaRPr lang="en-US" sz="2000" kern="1200"/>
        </a:p>
        <a:p>
          <a:pPr marL="228600" lvl="1" indent="-228600" algn="l" defTabSz="889000">
            <a:lnSpc>
              <a:spcPct val="90000"/>
            </a:lnSpc>
            <a:spcBef>
              <a:spcPct val="0"/>
            </a:spcBef>
            <a:spcAft>
              <a:spcPct val="15000"/>
            </a:spcAft>
            <a:buChar char="•"/>
          </a:pPr>
          <a:r>
            <a:rPr lang="en-US" sz="2000" kern="1200" baseline="0" dirty="0"/>
            <a:t>Minimize cost by only pulling over needed metrics</a:t>
          </a:r>
          <a:endParaRPr lang="en-US" sz="2000" kern="1200" dirty="0"/>
        </a:p>
      </dsp:txBody>
      <dsp:txXfrm>
        <a:off x="0" y="2478064"/>
        <a:ext cx="10880726" cy="1228500"/>
      </dsp:txXfrm>
    </dsp:sp>
    <dsp:sp modelId="{97B8B39D-A40B-4723-A32E-FBEC3624AF1E}">
      <dsp:nvSpPr>
        <dsp:cNvPr id="0" name=""/>
        <dsp:cNvSpPr/>
      </dsp:nvSpPr>
      <dsp:spPr>
        <a:xfrm>
          <a:off x="544036" y="2182864"/>
          <a:ext cx="7616508" cy="590400"/>
        </a:xfrm>
        <a:prstGeom prst="roundRect">
          <a:avLst/>
        </a:prstGeom>
        <a:solidFill>
          <a:schemeClr val="accent2">
            <a:hueOff val="-1778331"/>
            <a:satOff val="36921"/>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t>Cost</a:t>
          </a:r>
          <a:endParaRPr lang="en-US" sz="2000" kern="1200"/>
        </a:p>
      </dsp:txBody>
      <dsp:txXfrm>
        <a:off x="572857" y="2211685"/>
        <a:ext cx="7558866" cy="532758"/>
      </dsp:txXfrm>
    </dsp:sp>
    <dsp:sp modelId="{0D59AE30-8E8D-41FA-AE15-362573A12D21}">
      <dsp:nvSpPr>
        <dsp:cNvPr id="0" name=""/>
        <dsp:cNvSpPr/>
      </dsp:nvSpPr>
      <dsp:spPr>
        <a:xfrm>
          <a:off x="0" y="4109764"/>
          <a:ext cx="10880726" cy="866250"/>
        </a:xfrm>
        <a:prstGeom prst="rect">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416560"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10-15 minutes max latency</a:t>
          </a:r>
          <a:endParaRPr lang="en-US" sz="2000" kern="1200"/>
        </a:p>
      </dsp:txBody>
      <dsp:txXfrm>
        <a:off x="0" y="4109764"/>
        <a:ext cx="10880726" cy="866250"/>
      </dsp:txXfrm>
    </dsp:sp>
    <dsp:sp modelId="{35F630BF-532D-4D1F-8C85-10A208E50F6B}">
      <dsp:nvSpPr>
        <dsp:cNvPr id="0" name=""/>
        <dsp:cNvSpPr/>
      </dsp:nvSpPr>
      <dsp:spPr>
        <a:xfrm>
          <a:off x="544036" y="3814564"/>
          <a:ext cx="7616508" cy="59040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t>Latency</a:t>
          </a:r>
          <a:endParaRPr lang="en-US" sz="2000" kern="1200"/>
        </a:p>
      </dsp:txBody>
      <dsp:txXfrm>
        <a:off x="572857" y="3843385"/>
        <a:ext cx="7558866" cy="53275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72722B-4DEB-4DBF-8526-74394DC14106}">
      <dsp:nvSpPr>
        <dsp:cNvPr id="0" name=""/>
        <dsp:cNvSpPr/>
      </dsp:nvSpPr>
      <dsp:spPr>
        <a:xfrm>
          <a:off x="-3370286" y="-518320"/>
          <a:ext cx="4018734" cy="4018734"/>
        </a:xfrm>
        <a:prstGeom prst="blockArc">
          <a:avLst>
            <a:gd name="adj1" fmla="val 18900000"/>
            <a:gd name="adj2" fmla="val 2700000"/>
            <a:gd name="adj3" fmla="val 537"/>
          </a:avLst>
        </a:prstGeom>
        <a:noFill/>
        <a:ln w="1079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A4C7D86-BB65-4C76-AB7A-5087640588C2}">
      <dsp:nvSpPr>
        <dsp:cNvPr id="0" name=""/>
        <dsp:cNvSpPr/>
      </dsp:nvSpPr>
      <dsp:spPr>
        <a:xfrm>
          <a:off x="416968" y="298209"/>
          <a:ext cx="10425658" cy="596418"/>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340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Create a Log Analytics Workspace</a:t>
          </a:r>
          <a:endParaRPr lang="en-US" sz="2400" kern="1200" dirty="0"/>
        </a:p>
      </dsp:txBody>
      <dsp:txXfrm>
        <a:off x="416968" y="298209"/>
        <a:ext cx="10425658" cy="596418"/>
      </dsp:txXfrm>
    </dsp:sp>
    <dsp:sp modelId="{93A6A008-99D3-4956-BD8E-2C62F7695750}">
      <dsp:nvSpPr>
        <dsp:cNvPr id="0" name=""/>
        <dsp:cNvSpPr/>
      </dsp:nvSpPr>
      <dsp:spPr>
        <a:xfrm>
          <a:off x="44206" y="223657"/>
          <a:ext cx="745523" cy="745523"/>
        </a:xfrm>
        <a:prstGeom prst="ellipse">
          <a:avLst/>
        </a:prstGeom>
        <a:solidFill>
          <a:schemeClr val="lt1">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43D6098-374A-4066-8740-EC6A9EDEB5D3}">
      <dsp:nvSpPr>
        <dsp:cNvPr id="0" name=""/>
        <dsp:cNvSpPr/>
      </dsp:nvSpPr>
      <dsp:spPr>
        <a:xfrm>
          <a:off x="633766" y="1192837"/>
          <a:ext cx="10208860" cy="596418"/>
        </a:xfrm>
        <a:prstGeom prst="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340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t>Add new ‘Diagnostic setting’ to send logs to your workspace</a:t>
          </a:r>
          <a:endParaRPr lang="en-US" sz="2400" kern="1200"/>
        </a:p>
      </dsp:txBody>
      <dsp:txXfrm>
        <a:off x="633766" y="1192837"/>
        <a:ext cx="10208860" cy="596418"/>
      </dsp:txXfrm>
    </dsp:sp>
    <dsp:sp modelId="{70B8BF4A-EB4F-401D-B82F-E487FFF8BA8F}">
      <dsp:nvSpPr>
        <dsp:cNvPr id="0" name=""/>
        <dsp:cNvSpPr/>
      </dsp:nvSpPr>
      <dsp:spPr>
        <a:xfrm>
          <a:off x="261005" y="1118285"/>
          <a:ext cx="745523" cy="745523"/>
        </a:xfrm>
        <a:prstGeom prst="ellipse">
          <a:avLst/>
        </a:prstGeom>
        <a:solidFill>
          <a:schemeClr val="lt1">
            <a:hueOff val="0"/>
            <a:satOff val="0"/>
            <a:lumOff val="0"/>
            <a:alphaOff val="0"/>
          </a:schemeClr>
        </a:solidFill>
        <a:ln w="10795" cap="flat" cmpd="sng" algn="ctr">
          <a:solidFill>
            <a:schemeClr val="accent2">
              <a:hueOff val="-1333748"/>
              <a:satOff val="27691"/>
              <a:lumOff val="294"/>
              <a:alphaOff val="0"/>
            </a:schemeClr>
          </a:solidFill>
          <a:prstDash val="solid"/>
        </a:ln>
        <a:effectLst/>
      </dsp:spPr>
      <dsp:style>
        <a:lnRef idx="2">
          <a:scrgbClr r="0" g="0" b="0"/>
        </a:lnRef>
        <a:fillRef idx="1">
          <a:scrgbClr r="0" g="0" b="0"/>
        </a:fillRef>
        <a:effectRef idx="0">
          <a:scrgbClr r="0" g="0" b="0"/>
        </a:effectRef>
        <a:fontRef idx="minor"/>
      </dsp:style>
    </dsp:sp>
    <dsp:sp modelId="{D9C5B57F-9565-4A7F-ADDD-1977A079988B}">
      <dsp:nvSpPr>
        <dsp:cNvPr id="0" name=""/>
        <dsp:cNvSpPr/>
      </dsp:nvSpPr>
      <dsp:spPr>
        <a:xfrm>
          <a:off x="416968" y="2087465"/>
          <a:ext cx="10425658" cy="596418"/>
        </a:xfrm>
        <a:prstGeom prst="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340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t>Select which metrics you want to monitor</a:t>
          </a:r>
          <a:endParaRPr lang="en-US" sz="2400" kern="1200"/>
        </a:p>
      </dsp:txBody>
      <dsp:txXfrm>
        <a:off x="416968" y="2087465"/>
        <a:ext cx="10425658" cy="596418"/>
      </dsp:txXfrm>
    </dsp:sp>
    <dsp:sp modelId="{CED45248-1BC7-4485-B9B8-862077963B30}">
      <dsp:nvSpPr>
        <dsp:cNvPr id="0" name=""/>
        <dsp:cNvSpPr/>
      </dsp:nvSpPr>
      <dsp:spPr>
        <a:xfrm>
          <a:off x="44206" y="2012913"/>
          <a:ext cx="745523" cy="745523"/>
        </a:xfrm>
        <a:prstGeom prst="ellipse">
          <a:avLst/>
        </a:prstGeom>
        <a:solidFill>
          <a:schemeClr val="lt1">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052C95-CA25-4807-A4B2-4557EC53033E}">
      <dsp:nvSpPr>
        <dsp:cNvPr id="0" name=""/>
        <dsp:cNvSpPr/>
      </dsp:nvSpPr>
      <dsp:spPr>
        <a:xfrm>
          <a:off x="0" y="77117"/>
          <a:ext cx="5441000" cy="592020"/>
        </a:xfrm>
        <a:prstGeom prst="round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Environment for telemetry collection</a:t>
          </a:r>
        </a:p>
      </dsp:txBody>
      <dsp:txXfrm>
        <a:off x="28900" y="106017"/>
        <a:ext cx="5383200" cy="534220"/>
      </dsp:txXfrm>
    </dsp:sp>
    <dsp:sp modelId="{A2C89A0A-8C01-457A-9F46-288F4356A6D3}">
      <dsp:nvSpPr>
        <dsp:cNvPr id="0" name=""/>
        <dsp:cNvSpPr/>
      </dsp:nvSpPr>
      <dsp:spPr>
        <a:xfrm>
          <a:off x="0" y="669137"/>
          <a:ext cx="5441000" cy="1356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752"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Configure data collection frequency</a:t>
          </a:r>
        </a:p>
        <a:p>
          <a:pPr marL="171450" lvl="1" indent="-171450" algn="l" defTabSz="800100">
            <a:lnSpc>
              <a:spcPct val="90000"/>
            </a:lnSpc>
            <a:spcBef>
              <a:spcPct val="0"/>
            </a:spcBef>
            <a:spcAft>
              <a:spcPct val="20000"/>
            </a:spcAft>
            <a:buChar char="•"/>
          </a:pPr>
          <a:r>
            <a:rPr lang="en-US" sz="1800" kern="1200"/>
            <a:t>Choose exactly which data to collect</a:t>
          </a:r>
        </a:p>
        <a:p>
          <a:pPr marL="171450" lvl="1" indent="-171450" algn="l" defTabSz="800100">
            <a:lnSpc>
              <a:spcPct val="90000"/>
            </a:lnSpc>
            <a:spcBef>
              <a:spcPct val="0"/>
            </a:spcBef>
            <a:spcAft>
              <a:spcPct val="20000"/>
            </a:spcAft>
            <a:buChar char="•"/>
          </a:pPr>
          <a:r>
            <a:rPr lang="en-US" sz="1800" kern="1200"/>
            <a:t>Control the retention policy for the data</a:t>
          </a:r>
        </a:p>
        <a:p>
          <a:pPr marL="171450" lvl="1" indent="-171450" algn="l" defTabSz="800100">
            <a:lnSpc>
              <a:spcPct val="90000"/>
            </a:lnSpc>
            <a:spcBef>
              <a:spcPct val="0"/>
            </a:spcBef>
            <a:spcAft>
              <a:spcPct val="20000"/>
            </a:spcAft>
            <a:buChar char="•"/>
          </a:pPr>
          <a:r>
            <a:rPr lang="en-US" sz="1800" kern="1200"/>
            <a:t>Create custom data collection rules</a:t>
          </a:r>
        </a:p>
      </dsp:txBody>
      <dsp:txXfrm>
        <a:off x="0" y="669137"/>
        <a:ext cx="5441000" cy="1356885"/>
      </dsp:txXfrm>
    </dsp:sp>
    <dsp:sp modelId="{37304AC2-94C5-4FB3-BA86-347AC6895AD5}">
      <dsp:nvSpPr>
        <dsp:cNvPr id="0" name=""/>
        <dsp:cNvSpPr/>
      </dsp:nvSpPr>
      <dsp:spPr>
        <a:xfrm>
          <a:off x="0" y="2026022"/>
          <a:ext cx="5441000" cy="592020"/>
        </a:xfrm>
        <a:prstGeom prst="roundRect">
          <a:avLst/>
        </a:prstGeom>
        <a:solidFill>
          <a:schemeClr val="accent4">
            <a:hueOff val="-6192403"/>
            <a:satOff val="-50000"/>
            <a:lumOff val="451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Monitor any SQL Deployment in Azure</a:t>
          </a:r>
        </a:p>
      </dsp:txBody>
      <dsp:txXfrm>
        <a:off x="28900" y="2054922"/>
        <a:ext cx="5383200" cy="534220"/>
      </dsp:txXfrm>
    </dsp:sp>
    <dsp:sp modelId="{48F2C858-DD19-45DB-941C-ACEE14928FA4}">
      <dsp:nvSpPr>
        <dsp:cNvPr id="0" name=""/>
        <dsp:cNvSpPr/>
      </dsp:nvSpPr>
      <dsp:spPr>
        <a:xfrm>
          <a:off x="0" y="2618042"/>
          <a:ext cx="5441000" cy="102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752"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Azure SQL Database</a:t>
          </a:r>
        </a:p>
        <a:p>
          <a:pPr marL="171450" lvl="1" indent="-171450" algn="l" defTabSz="800100">
            <a:lnSpc>
              <a:spcPct val="90000"/>
            </a:lnSpc>
            <a:spcBef>
              <a:spcPct val="0"/>
            </a:spcBef>
            <a:spcAft>
              <a:spcPct val="20000"/>
            </a:spcAft>
            <a:buChar char="•"/>
          </a:pPr>
          <a:r>
            <a:rPr lang="en-US" sz="1800" kern="1200" dirty="0"/>
            <a:t>Azure SQL Managed Instance</a:t>
          </a:r>
        </a:p>
        <a:p>
          <a:pPr marL="171450" lvl="1" indent="-171450" algn="l" defTabSz="800100">
            <a:lnSpc>
              <a:spcPct val="90000"/>
            </a:lnSpc>
            <a:spcBef>
              <a:spcPct val="0"/>
            </a:spcBef>
            <a:spcAft>
              <a:spcPct val="20000"/>
            </a:spcAft>
            <a:buChar char="•"/>
          </a:pPr>
          <a:r>
            <a:rPr lang="en-US" sz="1800" kern="1200"/>
            <a:t>SQL Server on Azure Virtual Machines</a:t>
          </a:r>
        </a:p>
      </dsp:txBody>
      <dsp:txXfrm>
        <a:off x="0" y="2618042"/>
        <a:ext cx="5441000" cy="1023615"/>
      </dsp:txXfrm>
    </dsp:sp>
    <dsp:sp modelId="{AE90347D-771C-4AA8-845F-ED93B4A7616D}">
      <dsp:nvSpPr>
        <dsp:cNvPr id="0" name=""/>
        <dsp:cNvSpPr/>
      </dsp:nvSpPr>
      <dsp:spPr>
        <a:xfrm>
          <a:off x="0" y="3641657"/>
          <a:ext cx="5441000" cy="592020"/>
        </a:xfrm>
        <a:prstGeom prst="roundRect">
          <a:avLst/>
        </a:prstGeom>
        <a:solidFill>
          <a:schemeClr val="accent4">
            <a:hueOff val="-12384805"/>
            <a:satOff val="-100000"/>
            <a:lumOff val="902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Broad custom visualization support</a:t>
          </a:r>
        </a:p>
      </dsp:txBody>
      <dsp:txXfrm>
        <a:off x="28900" y="3670557"/>
        <a:ext cx="5383200" cy="534220"/>
      </dsp:txXfrm>
    </dsp:sp>
    <dsp:sp modelId="{4116B642-9679-4B7B-99C6-0D0B7382DCE8}">
      <dsp:nvSpPr>
        <dsp:cNvPr id="0" name=""/>
        <dsp:cNvSpPr/>
      </dsp:nvSpPr>
      <dsp:spPr>
        <a:xfrm>
          <a:off x="0" y="4233677"/>
          <a:ext cx="5441000" cy="102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2752"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Visualize data using Monitor Workbooks</a:t>
          </a:r>
        </a:p>
        <a:p>
          <a:pPr marL="171450" lvl="1" indent="-171450" algn="l" defTabSz="800100">
            <a:lnSpc>
              <a:spcPct val="90000"/>
            </a:lnSpc>
            <a:spcBef>
              <a:spcPct val="0"/>
            </a:spcBef>
            <a:spcAft>
              <a:spcPct val="20000"/>
            </a:spcAft>
            <a:buChar char="•"/>
          </a:pPr>
          <a:r>
            <a:rPr lang="en-US" sz="1800" kern="1200"/>
            <a:t>Integrates with open-source monitoring tools</a:t>
          </a:r>
        </a:p>
        <a:p>
          <a:pPr marL="171450" lvl="1" indent="-171450" algn="l" defTabSz="800100">
            <a:lnSpc>
              <a:spcPct val="90000"/>
            </a:lnSpc>
            <a:spcBef>
              <a:spcPct val="0"/>
            </a:spcBef>
            <a:spcAft>
              <a:spcPct val="20000"/>
            </a:spcAft>
            <a:buChar char="•"/>
          </a:pPr>
          <a:r>
            <a:rPr lang="en-US" sz="1800" kern="1200"/>
            <a:t>Select from over 200 metrics</a:t>
          </a:r>
        </a:p>
      </dsp:txBody>
      <dsp:txXfrm>
        <a:off x="0" y="4233677"/>
        <a:ext cx="5441000" cy="102361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3/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docs.microsoft.com/en-us/azure/azure-monitor/alerts/alerts-overview" TargetMode="External"/><Relationship Id="rId3" Type="http://schemas.openxmlformats.org/officeDocument/2006/relationships/hyperlink" Target="https://docs.microsoft.com/en-us/azure/azure-monitor/data-platform" TargetMode="External"/><Relationship Id="rId7" Type="http://schemas.openxmlformats.org/officeDocument/2006/relationships/hyperlink" Target="https://docs.microsoft.com/en-us/azure/azure-monitor/best-practices-analysis" TargetMode="External"/><Relationship Id="rId12" Type="http://schemas.openxmlformats.org/officeDocument/2006/relationships/hyperlink" Target="https://docs.microsoft.com/en-us/azure/data-explorer/kusto/query/splunk-cheat-shee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docs.microsoft.com/en-us/azure/azure-monitor/logs/log-query-overview" TargetMode="External"/><Relationship Id="rId11" Type="http://schemas.openxmlformats.org/officeDocument/2006/relationships/hyperlink" Target="https://docs.microsoft.com/en-us/azure/data-explorer/kusto/query/sqlcheatsheet" TargetMode="External"/><Relationship Id="rId5" Type="http://schemas.openxmlformats.org/officeDocument/2006/relationships/hyperlink" Target="https://docs.microsoft.com/en-us/azure/azure-monitor/logs/data-platform-logs" TargetMode="External"/><Relationship Id="rId10" Type="http://schemas.openxmlformats.org/officeDocument/2006/relationships/hyperlink" Target="https://docs.microsoft.com/en-us/azure/azure-monitor/logs/get-started-queries" TargetMode="External"/><Relationship Id="rId4" Type="http://schemas.openxmlformats.org/officeDocument/2006/relationships/hyperlink" Target="https://docs.microsoft.com/en-us/azure/azure-monitor/essentials/data-platform-metrics" TargetMode="External"/><Relationship Id="rId9" Type="http://schemas.openxmlformats.org/officeDocument/2006/relationships/hyperlink" Target="https://docs.microsoft.com/en-us/azure/kusto/qu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azure-monitor/monitor-referenc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E97690-D681-4B47-8FD4-7300C9E579A2}" type="slidenum">
              <a:rPr lang="en-US" smtClean="0"/>
              <a:t>1</a:t>
            </a:fld>
            <a:endParaRPr lang="en-US"/>
          </a:p>
        </p:txBody>
      </p:sp>
    </p:spTree>
    <p:extLst>
      <p:ext uri="{BB962C8B-B14F-4D97-AF65-F5344CB8AC3E}">
        <p14:creationId xmlns:p14="http://schemas.microsoft.com/office/powerpoint/2010/main" val="2197008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4730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022 9:45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E97690-D681-4B47-8FD4-7300C9E579A2}" type="slidenum">
              <a:rPr lang="en-US" smtClean="0"/>
              <a:t>4</a:t>
            </a:fld>
            <a:endParaRPr lang="en-US"/>
          </a:p>
        </p:txBody>
      </p:sp>
    </p:spTree>
    <p:extLst>
      <p:ext uri="{BB962C8B-B14F-4D97-AF65-F5344CB8AC3E}">
        <p14:creationId xmlns:p14="http://schemas.microsoft.com/office/powerpoint/2010/main" val="1601915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92500" lnSpcReduction="10000"/>
          </a:bodyPr>
          <a:lstStyle/>
          <a:p>
            <a:r>
              <a:rPr lang="en-US" dirty="0"/>
              <a:t>https://docs.microsoft.com/en-us/azure/azure-monitor/overview</a:t>
            </a:r>
          </a:p>
          <a:p>
            <a:endParaRPr lang="en-US" dirty="0"/>
          </a:p>
          <a:p>
            <a:r>
              <a:rPr lang="en-US" b="0" i="0" dirty="0">
                <a:solidFill>
                  <a:srgbClr val="E6E6E6"/>
                </a:solidFill>
                <a:effectLst/>
                <a:latin typeface="Segoe UI" panose="020B0502040204020203" pitchFamily="34" charset="0"/>
              </a:rPr>
              <a:t>Azure Monitor helps you maximize the availability and performance of your applications and services. It delivers a comprehensive solution for collecting, analyzing, and acting on telemetry from your cloud and on-premises environments. This information helps you understand how your applications are performing and proactively identify issues affecting them and the resources they depend on.</a:t>
            </a:r>
          </a:p>
          <a:p>
            <a:endParaRPr lang="en-US" b="0" i="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All data collected by Azure Monitor fits into one of two fundamental types, </a:t>
            </a:r>
            <a:r>
              <a:rPr lang="en-US" b="0" i="0" u="none" strike="noStrike" dirty="0">
                <a:effectLst/>
                <a:latin typeface="Segoe UI" panose="020B0502040204020203" pitchFamily="34" charset="0"/>
                <a:hlinkClick r:id="rId3"/>
              </a:rPr>
              <a:t>metrics and logs</a:t>
            </a:r>
            <a:r>
              <a:rPr lang="en-US" b="0" i="0" dirty="0">
                <a:solidFill>
                  <a:srgbClr val="E6E6E6"/>
                </a:solidFill>
                <a:effectLst/>
                <a:latin typeface="Segoe UI" panose="020B0502040204020203" pitchFamily="34" charset="0"/>
              </a:rPr>
              <a:t>. </a:t>
            </a:r>
            <a:r>
              <a:rPr lang="en-US" b="0" i="0" u="none" strike="noStrike" dirty="0">
                <a:effectLst/>
                <a:latin typeface="Segoe UI" panose="020B0502040204020203" pitchFamily="34" charset="0"/>
                <a:hlinkClick r:id="rId4"/>
              </a:rPr>
              <a:t>Metrics</a:t>
            </a:r>
            <a:r>
              <a:rPr lang="en-US" b="0" i="0" dirty="0">
                <a:solidFill>
                  <a:srgbClr val="E6E6E6"/>
                </a:solidFill>
                <a:effectLst/>
                <a:latin typeface="Segoe UI" panose="020B0502040204020203" pitchFamily="34" charset="0"/>
              </a:rPr>
              <a:t> are numerical values that describe some aspect of a system at a particular point in time. They are lightweight and capable of supporting near real-time scenarios. </a:t>
            </a:r>
            <a:r>
              <a:rPr lang="en-US" b="0" i="0" u="none" strike="noStrike" dirty="0">
                <a:effectLst/>
                <a:latin typeface="Segoe UI" panose="020B0502040204020203" pitchFamily="34" charset="0"/>
                <a:hlinkClick r:id="rId5"/>
              </a:rPr>
              <a:t>Logs</a:t>
            </a:r>
            <a:r>
              <a:rPr lang="en-US" b="0" i="0" dirty="0">
                <a:solidFill>
                  <a:srgbClr val="E6E6E6"/>
                </a:solidFill>
                <a:effectLst/>
                <a:latin typeface="Segoe UI" panose="020B0502040204020203" pitchFamily="34" charset="0"/>
              </a:rPr>
              <a:t> contain different kinds of data organized into records with different sets of properties for each type. Telemetry such as events and traces are stored as logs in addition to performance data so that it can all be combined for analysis.</a:t>
            </a:r>
          </a:p>
          <a:p>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Log data collected by Azure Monitor can be analyzed with </a:t>
            </a:r>
            <a:r>
              <a:rPr lang="en-US" b="0" i="0" u="none" strike="noStrike" dirty="0">
                <a:solidFill>
                  <a:srgbClr val="E6E6E6"/>
                </a:solidFill>
                <a:effectLst/>
                <a:latin typeface="Segoe UI" panose="020B0502040204020203" pitchFamily="34" charset="0"/>
                <a:hlinkClick r:id="rId6"/>
              </a:rPr>
              <a:t>queries</a:t>
            </a:r>
            <a:r>
              <a:rPr lang="en-US" b="0" i="0" dirty="0">
                <a:solidFill>
                  <a:srgbClr val="E6E6E6"/>
                </a:solidFill>
                <a:effectLst/>
                <a:latin typeface="Segoe UI" panose="020B0502040204020203" pitchFamily="34" charset="0"/>
              </a:rPr>
              <a:t> to quickly retrieve, consolidate, and analyze collected data. You can create and test queries using </a:t>
            </a:r>
            <a:r>
              <a:rPr lang="en-US" b="0" i="0" u="none" strike="noStrike" dirty="0">
                <a:solidFill>
                  <a:srgbClr val="E6E6E6"/>
                </a:solidFill>
                <a:effectLst/>
                <a:latin typeface="Segoe UI" panose="020B0502040204020203" pitchFamily="34" charset="0"/>
                <a:hlinkClick r:id="rId6"/>
              </a:rPr>
              <a:t>Log Analytics</a:t>
            </a:r>
            <a:r>
              <a:rPr lang="en-US" b="0" i="0" dirty="0">
                <a:solidFill>
                  <a:srgbClr val="E6E6E6"/>
                </a:solidFill>
                <a:effectLst/>
                <a:latin typeface="Segoe UI" panose="020B0502040204020203" pitchFamily="34" charset="0"/>
              </a:rPr>
              <a:t> in the Azure portal. You can then either directly analyze the data using different tools or save queries for use with </a:t>
            </a:r>
            <a:r>
              <a:rPr lang="en-US" b="0" i="0" u="none" strike="noStrike" dirty="0">
                <a:solidFill>
                  <a:srgbClr val="E6E6E6"/>
                </a:solidFill>
                <a:effectLst/>
                <a:latin typeface="Segoe UI" panose="020B0502040204020203" pitchFamily="34" charset="0"/>
                <a:hlinkClick r:id="rId7"/>
              </a:rPr>
              <a:t>visualizations</a:t>
            </a:r>
            <a:r>
              <a:rPr lang="en-US" b="0" i="0" dirty="0">
                <a:solidFill>
                  <a:srgbClr val="E6E6E6"/>
                </a:solidFill>
                <a:effectLst/>
                <a:latin typeface="Segoe UI" panose="020B0502040204020203" pitchFamily="34" charset="0"/>
              </a:rPr>
              <a:t> or </a:t>
            </a:r>
            <a:r>
              <a:rPr lang="en-US" b="0" i="0" u="none" strike="noStrike" dirty="0">
                <a:solidFill>
                  <a:srgbClr val="E6E6E6"/>
                </a:solidFill>
                <a:effectLst/>
                <a:latin typeface="Segoe UI" panose="020B0502040204020203" pitchFamily="34" charset="0"/>
                <a:hlinkClick r:id="rId8"/>
              </a:rPr>
              <a:t>alert rules</a:t>
            </a:r>
            <a:r>
              <a:rPr lang="en-US" b="0" i="0" dirty="0">
                <a:solidFill>
                  <a:srgbClr val="E6E6E6"/>
                </a:solidFill>
                <a:effectLst/>
                <a:latin typeface="Segoe UI" panose="020B0502040204020203" pitchFamily="34" charset="0"/>
              </a:rPr>
              <a:t>.</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Azure Monitor uses a version of the </a:t>
            </a:r>
            <a:r>
              <a:rPr lang="en-US" b="0" i="0" u="none" strike="noStrike" dirty="0">
                <a:solidFill>
                  <a:srgbClr val="E6E6E6"/>
                </a:solidFill>
                <a:effectLst/>
                <a:latin typeface="Segoe UI" panose="020B0502040204020203" pitchFamily="34" charset="0"/>
                <a:hlinkClick r:id="rId9"/>
              </a:rPr>
              <a:t>Kusto query language</a:t>
            </a:r>
            <a:r>
              <a:rPr lang="en-US" b="0" i="0" dirty="0">
                <a:solidFill>
                  <a:srgbClr val="E6E6E6"/>
                </a:solidFill>
                <a:effectLst/>
                <a:latin typeface="Segoe UI" panose="020B0502040204020203" pitchFamily="34" charset="0"/>
              </a:rPr>
              <a:t> that is suitable for simple log queries but also includes advanced functionality such as aggregations, joins, and smart analytics. You can quickly learn the query language using </a:t>
            </a:r>
            <a:r>
              <a:rPr lang="en-US" b="0" i="0" u="none" strike="noStrike" dirty="0">
                <a:solidFill>
                  <a:srgbClr val="E6E6E6"/>
                </a:solidFill>
                <a:effectLst/>
                <a:latin typeface="Segoe UI" panose="020B0502040204020203" pitchFamily="34" charset="0"/>
                <a:hlinkClick r:id="rId10"/>
              </a:rPr>
              <a:t>multiple lessons</a:t>
            </a:r>
            <a:r>
              <a:rPr lang="en-US" b="0" i="0" dirty="0">
                <a:solidFill>
                  <a:srgbClr val="E6E6E6"/>
                </a:solidFill>
                <a:effectLst/>
                <a:latin typeface="Segoe UI" panose="020B0502040204020203" pitchFamily="34" charset="0"/>
              </a:rPr>
              <a:t>. Particular guidance is provided to users who are already familiar with </a:t>
            </a:r>
            <a:r>
              <a:rPr lang="en-US" b="0" i="0" u="none" strike="noStrike" dirty="0">
                <a:solidFill>
                  <a:srgbClr val="E6E6E6"/>
                </a:solidFill>
                <a:effectLst/>
                <a:latin typeface="Segoe UI" panose="020B0502040204020203" pitchFamily="34" charset="0"/>
                <a:hlinkClick r:id="rId11"/>
              </a:rPr>
              <a:t>SQL</a:t>
            </a:r>
            <a:r>
              <a:rPr lang="en-US" b="0" i="0" dirty="0">
                <a:solidFill>
                  <a:srgbClr val="E6E6E6"/>
                </a:solidFill>
                <a:effectLst/>
                <a:latin typeface="Segoe UI" panose="020B0502040204020203" pitchFamily="34" charset="0"/>
              </a:rPr>
              <a:t> and </a:t>
            </a:r>
            <a:r>
              <a:rPr lang="en-US" b="0" i="0" u="none" strike="noStrike" dirty="0">
                <a:solidFill>
                  <a:srgbClr val="E6E6E6"/>
                </a:solidFill>
                <a:effectLst/>
                <a:latin typeface="Segoe UI" panose="020B0502040204020203" pitchFamily="34" charset="0"/>
                <a:hlinkClick r:id="rId12"/>
              </a:rPr>
              <a:t>Splunk</a:t>
            </a:r>
            <a:r>
              <a:rPr lang="en-US" b="0" i="0" dirty="0">
                <a:solidFill>
                  <a:srgbClr val="E6E6E6"/>
                </a:solidFill>
                <a:effectLst/>
                <a:latin typeface="Segoe UI" panose="020B0502040204020203" pitchFamily="34" charset="0"/>
              </a:rPr>
              <a:t>.</a:t>
            </a:r>
          </a:p>
          <a:p>
            <a:endParaRPr lang="en-US" b="0" i="0" dirty="0">
              <a:solidFill>
                <a:srgbClr val="E6E6E6"/>
              </a:solidFill>
              <a:effectLst/>
              <a:latin typeface="Segoe UI" panose="020B0502040204020203" pitchFamily="34" charset="0"/>
            </a:endParaRPr>
          </a:p>
          <a:p>
            <a:endParaRPr lang="en-US" b="0" i="0" dirty="0">
              <a:solidFill>
                <a:srgbClr val="E6E6E6"/>
              </a:solidFill>
              <a:effectLst/>
              <a:latin typeface="Segoe UI" panose="020B0502040204020203" pitchFamily="34" charset="0"/>
            </a:endParaRPr>
          </a:p>
          <a:p>
            <a:endParaRPr lang="en-US" dirty="0"/>
          </a:p>
          <a:p>
            <a:endParaRPr lang="en-US"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3/4/2022 9:50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928912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it-IT" dirty="0"/>
              <a:t>https://docs.microsoft.com/en-us/azure/azure-monitor/essentials/data-platform-metrics</a:t>
            </a:r>
          </a:p>
          <a:p>
            <a:endParaRPr lang="it-IT" dirty="0"/>
          </a:p>
          <a:p>
            <a:pPr algn="l"/>
            <a:r>
              <a:rPr lang="en-US" b="0" i="0" dirty="0">
                <a:solidFill>
                  <a:srgbClr val="E6E6E6"/>
                </a:solidFill>
                <a:effectLst/>
                <a:latin typeface="Segoe UI" panose="020B0502040204020203" pitchFamily="34" charset="0"/>
              </a:rPr>
              <a:t>Azure Monitor Metrics is a feature of Azure Monitor that collects numeric data from </a:t>
            </a:r>
            <a:r>
              <a:rPr lang="en-US" b="0" i="0" u="none" strike="noStrike" dirty="0">
                <a:solidFill>
                  <a:srgbClr val="E6E6E6"/>
                </a:solidFill>
                <a:effectLst/>
                <a:latin typeface="Segoe UI" panose="020B0502040204020203" pitchFamily="34" charset="0"/>
                <a:hlinkClick r:id="rId3"/>
              </a:rPr>
              <a:t>monitored resources</a:t>
            </a:r>
            <a:r>
              <a:rPr lang="en-US" b="0" i="0" dirty="0">
                <a:solidFill>
                  <a:srgbClr val="E6E6E6"/>
                </a:solidFill>
                <a:effectLst/>
                <a:latin typeface="Segoe UI" panose="020B0502040204020203" pitchFamily="34" charset="0"/>
              </a:rPr>
              <a:t> into a time series database. Metrics are numerical values that are collected at regular intervals and describe some aspect of a system at a particular time.</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Metrics in Azure Monitor are lightweight and capable of supporting near real-time scenarios, so they're useful for alerting and fast detection of issues. You can analyze them interactively by using Metrics Explorer, be proactively notified with an alert when a value crosses a threshold, or visualize them in a workbook or dashboard.</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3/4/2022 9:50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6</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885002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dirty="0"/>
              <a:t>https://www.bing.com/videos/search?q=azure+monitor+for+sql+database&amp;view=detail&amp;mid=4E8658E1D4FCABED82E14E8658E1D4FCABED82E1&amp;FORM=VIR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3/4/2022 9:50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0791014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7754308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86488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36962960"/>
      </p:ext>
    </p:extLst>
  </p:cSld>
  <p:clrMapOvr>
    <a:masterClrMapping/>
  </p:clrMapOvr>
  <p:hf sldNum="0"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7328659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20977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653094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5">
            <a:extLst>
              <a:ext uri="{FF2B5EF4-FFF2-40B4-BE49-F238E27FC236}">
                <a16:creationId xmlns:a16="http://schemas.microsoft.com/office/drawing/2014/main" id="{B97B15E4-CDBA-4931-BA44-2308C213F725}"/>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6827118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7289134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88416992"/>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7.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922" r:id="rId1"/>
    <p:sldLayoutId id="2147485356" r:id="rId2"/>
    <p:sldLayoutId id="2147485357" r:id="rId3"/>
    <p:sldLayoutId id="2147485358" r:id="rId4"/>
    <p:sldLayoutId id="2147485301" r:id="rId5"/>
    <p:sldLayoutId id="2147485367" r:id="rId6"/>
    <p:sldLayoutId id="2147485368" r:id="rId7"/>
    <p:sldLayoutId id="2147485369" r:id="rId8"/>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7"/>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9342993"/>
      </p:ext>
    </p:extLst>
  </p:cSld>
  <p:clrMap bg1="lt1" tx1="dk1" bg2="lt2" tx2="dk2" accent1="accent1" accent2="accent2" accent3="accent3" accent4="accent4" accent5="accent5" accent6="accent6" hlink="hlink" folHlink="folHlink"/>
  <p:sldLayoutIdLst>
    <p:sldLayoutId id="2147484984" r:id="rId1"/>
    <p:sldLayoutId id="2147484986" r:id="rId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9.xml"/><Relationship Id="rId1" Type="http://schemas.openxmlformats.org/officeDocument/2006/relationships/tags" Target="../tags/tag4.xml"/><Relationship Id="rId6" Type="http://schemas.openxmlformats.org/officeDocument/2006/relationships/image" Target="../media/image10.jp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slideLayout" Target="../slideLayouts/slideLayout7.xml"/><Relationship Id="rId7" Type="http://schemas.openxmlformats.org/officeDocument/2006/relationships/diagramQuickStyle" Target="../diagrams/quickStyle6.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diagramLayout" Target="../diagrams/layout6.xml"/><Relationship Id="rId11" Type="http://schemas.openxmlformats.org/officeDocument/2006/relationships/image" Target="../media/image41.wmf"/><Relationship Id="rId5" Type="http://schemas.openxmlformats.org/officeDocument/2006/relationships/diagramData" Target="../diagrams/data6.xml"/><Relationship Id="rId10" Type="http://schemas.openxmlformats.org/officeDocument/2006/relationships/oleObject" Target="../embeddings/oleObject2.bin"/><Relationship Id="rId4" Type="http://schemas.openxmlformats.org/officeDocument/2006/relationships/notesSlide" Target="../notesSlides/notesSlide7.xml"/><Relationship Id="rId9" Type="http://schemas.microsoft.com/office/2007/relationships/diagramDrawing" Target="../diagrams/drawing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5.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26.w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6.xml"/><Relationship Id="rId7" Type="http://schemas.openxmlformats.org/officeDocument/2006/relationships/diagramColors" Target="../diagrams/colors2.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3165556"/>
            <a:ext cx="5199473" cy="1329595"/>
          </a:xfrm>
        </p:spPr>
        <p:txBody>
          <a:bodyPr/>
          <a:lstStyle/>
          <a:p>
            <a:r>
              <a:rPr lang="en-US" dirty="0"/>
              <a:t>Azure Monitor </a:t>
            </a:r>
            <a:br>
              <a:rPr lang="en-US" dirty="0"/>
            </a:br>
            <a:r>
              <a:rPr lang="en-US" dirty="0"/>
              <a:t>and Log Analytics</a:t>
            </a:r>
            <a:br>
              <a:rPr lang="en-US" dirty="0"/>
            </a:br>
            <a:endParaRPr lang="en-US" dirty="0"/>
          </a:p>
        </p:txBody>
      </p:sp>
      <p:sp>
        <p:nvSpPr>
          <p:cNvPr id="3" name="Title 1">
            <a:extLst>
              <a:ext uri="{FF2B5EF4-FFF2-40B4-BE49-F238E27FC236}">
                <a16:creationId xmlns:a16="http://schemas.microsoft.com/office/drawing/2014/main" id="{12FF1984-1622-4090-B657-5545BFED10A4}"/>
              </a:ext>
            </a:extLst>
          </p:cNvPr>
          <p:cNvSpPr txBox="1">
            <a:spLocks/>
          </p:cNvSpPr>
          <p:nvPr/>
        </p:nvSpPr>
        <p:spPr>
          <a:xfrm>
            <a:off x="496113" y="5210574"/>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D5DFE24-1502-4FDF-AC2D-EC72B3353D74}"/>
              </a:ext>
            </a:extLst>
          </p:cNvPr>
          <p:cNvSpPr>
            <a:spLocks noGrp="1"/>
          </p:cNvSpPr>
          <p:nvPr>
            <p:ph type="title"/>
          </p:nvPr>
        </p:nvSpPr>
        <p:spPr>
          <a:xfrm>
            <a:off x="655639" y="320040"/>
            <a:ext cx="10880725" cy="461665"/>
          </a:xfrm>
        </p:spPr>
        <p:txBody>
          <a:bodyPr/>
          <a:lstStyle/>
          <a:p>
            <a:r>
              <a:rPr lang="en-US" dirty="0"/>
              <a:t>Azure Monitor Alerts – Action Groups</a:t>
            </a:r>
          </a:p>
        </p:txBody>
      </p:sp>
      <p:pic>
        <p:nvPicPr>
          <p:cNvPr id="4" name="Picture 3">
            <a:extLst>
              <a:ext uri="{FF2B5EF4-FFF2-40B4-BE49-F238E27FC236}">
                <a16:creationId xmlns:a16="http://schemas.microsoft.com/office/drawing/2014/main" id="{BDF5CFDB-F025-4D3C-B09C-CAC5697137F4}"/>
              </a:ext>
            </a:extLst>
          </p:cNvPr>
          <p:cNvPicPr>
            <a:picLocks noChangeAspect="1"/>
          </p:cNvPicPr>
          <p:nvPr/>
        </p:nvPicPr>
        <p:blipFill>
          <a:blip r:embed="rId2"/>
          <a:stretch>
            <a:fillRect/>
          </a:stretch>
        </p:blipFill>
        <p:spPr>
          <a:xfrm>
            <a:off x="499730" y="1108703"/>
            <a:ext cx="6407194" cy="3232633"/>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B335E9A3-9309-4D70-A575-4E5042D9D5AD}"/>
              </a:ext>
            </a:extLst>
          </p:cNvPr>
          <p:cNvPicPr>
            <a:picLocks noChangeAspect="1"/>
          </p:cNvPicPr>
          <p:nvPr/>
        </p:nvPicPr>
        <p:blipFill>
          <a:blip r:embed="rId3"/>
          <a:stretch>
            <a:fillRect/>
          </a:stretch>
        </p:blipFill>
        <p:spPr>
          <a:xfrm>
            <a:off x="1809696" y="2279086"/>
            <a:ext cx="9152561" cy="2623164"/>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19792BB9-92AC-4B5A-8197-465C38CDFA34}"/>
              </a:ext>
            </a:extLst>
          </p:cNvPr>
          <p:cNvPicPr>
            <a:picLocks noChangeAspect="1"/>
          </p:cNvPicPr>
          <p:nvPr/>
        </p:nvPicPr>
        <p:blipFill>
          <a:blip r:embed="rId4"/>
          <a:stretch>
            <a:fillRect/>
          </a:stretch>
        </p:blipFill>
        <p:spPr>
          <a:xfrm>
            <a:off x="6385977" y="2993143"/>
            <a:ext cx="4994531" cy="325730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567271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49135-7048-4A65-990F-904A0BB21048}"/>
              </a:ext>
            </a:extLst>
          </p:cNvPr>
          <p:cNvSpPr>
            <a:spLocks noGrp="1"/>
          </p:cNvSpPr>
          <p:nvPr>
            <p:ph type="title"/>
          </p:nvPr>
        </p:nvSpPr>
        <p:spPr/>
        <p:txBody>
          <a:bodyPr/>
          <a:lstStyle/>
          <a:p>
            <a:r>
              <a:rPr lang="en-US" dirty="0"/>
              <a:t>Azure Dashboards</a:t>
            </a:r>
          </a:p>
        </p:txBody>
      </p:sp>
      <p:graphicFrame>
        <p:nvGraphicFramePr>
          <p:cNvPr id="4" name="Content Placeholder 3">
            <a:extLst>
              <a:ext uri="{FF2B5EF4-FFF2-40B4-BE49-F238E27FC236}">
                <a16:creationId xmlns:a16="http://schemas.microsoft.com/office/drawing/2014/main" id="{9A8EABDB-C08A-4C57-B563-2CF070D3680E}"/>
              </a:ext>
            </a:extLst>
          </p:cNvPr>
          <p:cNvGraphicFramePr>
            <a:graphicFrameLocks noGrp="1"/>
          </p:cNvGraphicFramePr>
          <p:nvPr>
            <p:ph sz="quarter" idx="13"/>
            <p:extLst>
              <p:ext uri="{D42A27DB-BD31-4B8C-83A1-F6EECF244321}">
                <p14:modId xmlns:p14="http://schemas.microsoft.com/office/powerpoint/2010/main" val="3742423296"/>
              </p:ext>
            </p:extLst>
          </p:nvPr>
        </p:nvGraphicFramePr>
        <p:xfrm>
          <a:off x="655639" y="1083416"/>
          <a:ext cx="10880726" cy="51439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766317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8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69953" rtl="0" eaLnBrk="1" fontAlgn="base" latinLnBrk="0" hangingPunct="1">
              <a:lnSpc>
                <a:spcPct val="90000"/>
              </a:lnSpc>
              <a:spcBef>
                <a:spcPct val="0"/>
              </a:spcBef>
              <a:spcAft>
                <a:spcPct val="0"/>
              </a:spcAft>
              <a:buClrTx/>
              <a:buSzTx/>
              <a:buFontTx/>
              <a:buNone/>
              <a:tabLst/>
              <a:defRPr/>
            </a:pPr>
            <a:r>
              <a:rPr kumimoji="0" lang="en-US" sz="8800" b="0" i="0" u="none" strike="noStrike" kern="0" cap="none" spc="0" normalizeH="0" baseline="0" noProof="0" dirty="0">
                <a:ln>
                  <a:noFill/>
                </a:ln>
                <a:solidFill>
                  <a:srgbClr val="2098D5">
                    <a:lumMod val="75000"/>
                  </a:srgbClr>
                </a:solidFill>
                <a:effectLst/>
                <a:uLnTx/>
                <a:uFillTx/>
                <a:latin typeface="Segoe UI"/>
                <a:ea typeface="Segoe UI" pitchFamily="34" charset="0"/>
                <a:cs typeface="Segoe UI" pitchFamily="34" charset="0"/>
              </a:rPr>
              <a:t>Demonstration Time</a:t>
            </a:r>
          </a:p>
        </p:txBody>
      </p:sp>
    </p:spTree>
    <p:extLst>
      <p:ext uri="{BB962C8B-B14F-4D97-AF65-F5344CB8AC3E}">
        <p14:creationId xmlns:p14="http://schemas.microsoft.com/office/powerpoint/2010/main" val="29316911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descr="Financial graphs on a dark display">
            <a:extLst>
              <a:ext uri="{FF2B5EF4-FFF2-40B4-BE49-F238E27FC236}">
                <a16:creationId xmlns:a16="http://schemas.microsoft.com/office/drawing/2014/main" id="{FA60784A-FD7A-4D9F-8A0D-2CD81D707EF6}"/>
              </a:ext>
            </a:extLst>
          </p:cNvPr>
          <p:cNvPicPr>
            <a:picLocks noChangeAspect="1"/>
          </p:cNvPicPr>
          <p:nvPr/>
        </p:nvPicPr>
        <p:blipFill rotWithShape="1">
          <a:blip r:embed="rId2"/>
          <a:srcRect t="10000"/>
          <a:stretch/>
        </p:blipFill>
        <p:spPr>
          <a:xfrm>
            <a:off x="20" y="10"/>
            <a:ext cx="12191980" cy="6857990"/>
          </a:xfrm>
          <a:prstGeom prst="rect">
            <a:avLst/>
          </a:prstGeom>
          <a:noFill/>
        </p:spPr>
      </p:pic>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621451" y="4519136"/>
            <a:ext cx="10960949" cy="738664"/>
          </a:xfrm>
        </p:spPr>
        <p:txBody>
          <a:bodyPr wrap="square" anchor="b">
            <a:normAutofit/>
          </a:bodyPr>
          <a:lstStyle/>
          <a:p>
            <a:r>
              <a:rPr lang="en-US" dirty="0"/>
              <a:t>Azure Log Analytics</a:t>
            </a:r>
          </a:p>
        </p:txBody>
      </p:sp>
    </p:spTree>
    <p:extLst>
      <p:ext uri="{BB962C8B-B14F-4D97-AF65-F5344CB8AC3E}">
        <p14:creationId xmlns:p14="http://schemas.microsoft.com/office/powerpoint/2010/main" val="40108864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27040-2F16-4123-9B16-7F6A922FDDF7}"/>
              </a:ext>
            </a:extLst>
          </p:cNvPr>
          <p:cNvSpPr>
            <a:spLocks noGrp="1"/>
          </p:cNvSpPr>
          <p:nvPr>
            <p:ph type="title"/>
          </p:nvPr>
        </p:nvSpPr>
        <p:spPr/>
        <p:txBody>
          <a:bodyPr/>
          <a:lstStyle/>
          <a:p>
            <a:r>
              <a:rPr lang="en-US" dirty="0"/>
              <a:t>What is Log Analytics?</a:t>
            </a:r>
          </a:p>
        </p:txBody>
      </p:sp>
      <p:graphicFrame>
        <p:nvGraphicFramePr>
          <p:cNvPr id="5" name="Content Placeholder 4">
            <a:extLst>
              <a:ext uri="{FF2B5EF4-FFF2-40B4-BE49-F238E27FC236}">
                <a16:creationId xmlns:a16="http://schemas.microsoft.com/office/drawing/2014/main" id="{73E9F459-CD70-4910-8205-325B062EC167}"/>
              </a:ext>
            </a:extLst>
          </p:cNvPr>
          <p:cNvGraphicFramePr>
            <a:graphicFrameLocks noGrp="1"/>
          </p:cNvGraphicFramePr>
          <p:nvPr>
            <p:ph sz="quarter" idx="13"/>
            <p:extLst>
              <p:ext uri="{D42A27DB-BD31-4B8C-83A1-F6EECF244321}">
                <p14:modId xmlns:p14="http://schemas.microsoft.com/office/powerpoint/2010/main" val="3099051703"/>
              </p:ext>
            </p:extLst>
          </p:nvPr>
        </p:nvGraphicFramePr>
        <p:xfrm>
          <a:off x="655639" y="1108953"/>
          <a:ext cx="10880726" cy="49822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073136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13612-9098-42A9-8D5C-2B4448BAB74E}"/>
              </a:ext>
            </a:extLst>
          </p:cNvPr>
          <p:cNvSpPr>
            <a:spLocks noGrp="1"/>
          </p:cNvSpPr>
          <p:nvPr>
            <p:ph type="title"/>
          </p:nvPr>
        </p:nvSpPr>
        <p:spPr/>
        <p:txBody>
          <a:bodyPr/>
          <a:lstStyle/>
          <a:p>
            <a:r>
              <a:rPr lang="en-US" dirty="0"/>
              <a:t>Enabling Log Analytics</a:t>
            </a:r>
          </a:p>
        </p:txBody>
      </p:sp>
      <p:graphicFrame>
        <p:nvGraphicFramePr>
          <p:cNvPr id="4" name="Content Placeholder 3">
            <a:extLst>
              <a:ext uri="{FF2B5EF4-FFF2-40B4-BE49-F238E27FC236}">
                <a16:creationId xmlns:a16="http://schemas.microsoft.com/office/drawing/2014/main" id="{50C4829B-01D7-42BB-B62E-9C7101A9F7A8}"/>
              </a:ext>
            </a:extLst>
          </p:cNvPr>
          <p:cNvGraphicFramePr>
            <a:graphicFrameLocks noGrp="1"/>
          </p:cNvGraphicFramePr>
          <p:nvPr>
            <p:ph sz="quarter" idx="13"/>
            <p:extLst>
              <p:ext uri="{D42A27DB-BD31-4B8C-83A1-F6EECF244321}">
                <p14:modId xmlns:p14="http://schemas.microsoft.com/office/powerpoint/2010/main" val="3215572890"/>
              </p:ext>
            </p:extLst>
          </p:nvPr>
        </p:nvGraphicFramePr>
        <p:xfrm>
          <a:off x="655639" y="1937953"/>
          <a:ext cx="10880726" cy="29820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602365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13612-9098-42A9-8D5C-2B4448BAB74E}"/>
              </a:ext>
            </a:extLst>
          </p:cNvPr>
          <p:cNvSpPr>
            <a:spLocks noGrp="1"/>
          </p:cNvSpPr>
          <p:nvPr>
            <p:ph type="title"/>
          </p:nvPr>
        </p:nvSpPr>
        <p:spPr/>
        <p:txBody>
          <a:bodyPr/>
          <a:lstStyle/>
          <a:p>
            <a:r>
              <a:rPr lang="en-US"/>
              <a:t>Create Log Analytics Workspace</a:t>
            </a:r>
            <a:endParaRPr lang="en-US" dirty="0"/>
          </a:p>
        </p:txBody>
      </p:sp>
      <p:pic>
        <p:nvPicPr>
          <p:cNvPr id="7" name="Picture 6">
            <a:extLst>
              <a:ext uri="{FF2B5EF4-FFF2-40B4-BE49-F238E27FC236}">
                <a16:creationId xmlns:a16="http://schemas.microsoft.com/office/drawing/2014/main" id="{B8B0E4DD-4348-4796-8193-AA6423C051D1}"/>
              </a:ext>
            </a:extLst>
          </p:cNvPr>
          <p:cNvPicPr>
            <a:picLocks noChangeAspect="1"/>
          </p:cNvPicPr>
          <p:nvPr/>
        </p:nvPicPr>
        <p:blipFill>
          <a:blip r:embed="rId2"/>
          <a:stretch>
            <a:fillRect/>
          </a:stretch>
        </p:blipFill>
        <p:spPr>
          <a:xfrm>
            <a:off x="2538210" y="1095153"/>
            <a:ext cx="7115579" cy="518305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4883597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13612-9098-42A9-8D5C-2B4448BAB74E}"/>
              </a:ext>
            </a:extLst>
          </p:cNvPr>
          <p:cNvSpPr>
            <a:spLocks noGrp="1"/>
          </p:cNvSpPr>
          <p:nvPr>
            <p:ph type="title"/>
          </p:nvPr>
        </p:nvSpPr>
        <p:spPr/>
        <p:txBody>
          <a:bodyPr/>
          <a:lstStyle/>
          <a:p>
            <a:r>
              <a:rPr lang="en-US" dirty="0"/>
              <a:t>Configure Diagnostic Settings</a:t>
            </a:r>
          </a:p>
        </p:txBody>
      </p:sp>
      <p:pic>
        <p:nvPicPr>
          <p:cNvPr id="4" name="Picture 3">
            <a:extLst>
              <a:ext uri="{FF2B5EF4-FFF2-40B4-BE49-F238E27FC236}">
                <a16:creationId xmlns:a16="http://schemas.microsoft.com/office/drawing/2014/main" id="{E4F5F614-2297-4779-9612-E5DEDFB9CC5A}"/>
              </a:ext>
            </a:extLst>
          </p:cNvPr>
          <p:cNvPicPr>
            <a:picLocks noChangeAspect="1"/>
          </p:cNvPicPr>
          <p:nvPr/>
        </p:nvPicPr>
        <p:blipFill>
          <a:blip r:embed="rId2"/>
          <a:stretch>
            <a:fillRect/>
          </a:stretch>
        </p:blipFill>
        <p:spPr>
          <a:xfrm>
            <a:off x="447472" y="1157592"/>
            <a:ext cx="2462641" cy="1650225"/>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11B63031-3CDE-4AC6-B01C-A980EF26C220}"/>
              </a:ext>
            </a:extLst>
          </p:cNvPr>
          <p:cNvPicPr>
            <a:picLocks noChangeAspect="1"/>
          </p:cNvPicPr>
          <p:nvPr/>
        </p:nvPicPr>
        <p:blipFill>
          <a:blip r:embed="rId3"/>
          <a:stretch>
            <a:fillRect/>
          </a:stretch>
        </p:blipFill>
        <p:spPr>
          <a:xfrm>
            <a:off x="2095501" y="1396021"/>
            <a:ext cx="7778323" cy="3575366"/>
          </a:xfrm>
          <a:prstGeom prst="rect">
            <a:avLst/>
          </a:prstGeom>
          <a:ln>
            <a:noFill/>
          </a:ln>
          <a:effectLst>
            <a:outerShdw blurRad="190500" algn="tl" rotWithShape="0">
              <a:srgbClr val="000000">
                <a:alpha val="70000"/>
              </a:srgbClr>
            </a:outerShdw>
          </a:effectLst>
        </p:spPr>
      </p:pic>
      <p:pic>
        <p:nvPicPr>
          <p:cNvPr id="9" name="Picture 8">
            <a:extLst>
              <a:ext uri="{FF2B5EF4-FFF2-40B4-BE49-F238E27FC236}">
                <a16:creationId xmlns:a16="http://schemas.microsoft.com/office/drawing/2014/main" id="{F2AF05B0-37D5-4567-9398-BB15AB1811BD}"/>
              </a:ext>
            </a:extLst>
          </p:cNvPr>
          <p:cNvPicPr>
            <a:picLocks noChangeAspect="1"/>
          </p:cNvPicPr>
          <p:nvPr/>
        </p:nvPicPr>
        <p:blipFill>
          <a:blip r:embed="rId4"/>
          <a:stretch>
            <a:fillRect/>
          </a:stretch>
        </p:blipFill>
        <p:spPr>
          <a:xfrm>
            <a:off x="4341232" y="2214428"/>
            <a:ext cx="7292408" cy="415978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743112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13612-9098-42A9-8D5C-2B4448BAB74E}"/>
              </a:ext>
            </a:extLst>
          </p:cNvPr>
          <p:cNvSpPr>
            <a:spLocks noGrp="1"/>
          </p:cNvSpPr>
          <p:nvPr>
            <p:ph type="title"/>
          </p:nvPr>
        </p:nvSpPr>
        <p:spPr/>
        <p:txBody>
          <a:bodyPr/>
          <a:lstStyle/>
          <a:p>
            <a:r>
              <a:rPr lang="en-US" dirty="0"/>
              <a:t>Querying Log Analytics (Avg CPU Usage)</a:t>
            </a:r>
          </a:p>
        </p:txBody>
      </p:sp>
      <p:pic>
        <p:nvPicPr>
          <p:cNvPr id="5" name="Picture 4">
            <a:extLst>
              <a:ext uri="{FF2B5EF4-FFF2-40B4-BE49-F238E27FC236}">
                <a16:creationId xmlns:a16="http://schemas.microsoft.com/office/drawing/2014/main" id="{1561F7F5-E4F4-4B15-9307-7C3737239104}"/>
              </a:ext>
            </a:extLst>
          </p:cNvPr>
          <p:cNvPicPr>
            <a:picLocks noChangeAspect="1"/>
          </p:cNvPicPr>
          <p:nvPr/>
        </p:nvPicPr>
        <p:blipFill>
          <a:blip r:embed="rId2"/>
          <a:stretch>
            <a:fillRect/>
          </a:stretch>
        </p:blipFill>
        <p:spPr>
          <a:xfrm>
            <a:off x="1788230" y="1116419"/>
            <a:ext cx="8615539" cy="5041825"/>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A2644179-A0A7-4EF2-B1DA-DB36B21C3ACF}"/>
              </a:ext>
            </a:extLst>
          </p:cNvPr>
          <p:cNvSpPr/>
          <p:nvPr/>
        </p:nvSpPr>
        <p:spPr>
          <a:xfrm>
            <a:off x="1881963" y="4497572"/>
            <a:ext cx="1988288" cy="318977"/>
          </a:xfrm>
          <a:prstGeom prst="rect">
            <a:avLst/>
          </a:prstGeom>
          <a:solidFill>
            <a:schemeClr val="accent5">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220413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13612-9098-42A9-8D5C-2B4448BAB74E}"/>
              </a:ext>
            </a:extLst>
          </p:cNvPr>
          <p:cNvSpPr>
            <a:spLocks noGrp="1"/>
          </p:cNvSpPr>
          <p:nvPr>
            <p:ph type="title"/>
          </p:nvPr>
        </p:nvSpPr>
        <p:spPr/>
        <p:txBody>
          <a:bodyPr/>
          <a:lstStyle/>
          <a:p>
            <a:r>
              <a:rPr lang="en-US" dirty="0"/>
              <a:t>Querying Log Analytics (Deadlocks)</a:t>
            </a:r>
          </a:p>
        </p:txBody>
      </p:sp>
      <p:pic>
        <p:nvPicPr>
          <p:cNvPr id="4" name="Picture 3">
            <a:extLst>
              <a:ext uri="{FF2B5EF4-FFF2-40B4-BE49-F238E27FC236}">
                <a16:creationId xmlns:a16="http://schemas.microsoft.com/office/drawing/2014/main" id="{7987CE0E-0B6D-4EE6-82E7-B483AB06FD90}"/>
              </a:ext>
            </a:extLst>
          </p:cNvPr>
          <p:cNvPicPr>
            <a:picLocks noChangeAspect="1"/>
          </p:cNvPicPr>
          <p:nvPr/>
        </p:nvPicPr>
        <p:blipFill>
          <a:blip r:embed="rId2"/>
          <a:stretch>
            <a:fillRect/>
          </a:stretch>
        </p:blipFill>
        <p:spPr>
          <a:xfrm>
            <a:off x="1115703" y="1084821"/>
            <a:ext cx="9960594" cy="5188388"/>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48506143-5A33-4F94-A67F-ED31243E816A}"/>
              </a:ext>
            </a:extLst>
          </p:cNvPr>
          <p:cNvSpPr/>
          <p:nvPr/>
        </p:nvSpPr>
        <p:spPr>
          <a:xfrm>
            <a:off x="1477926" y="5571158"/>
            <a:ext cx="1988288" cy="318977"/>
          </a:xfrm>
          <a:prstGeom prst="rect">
            <a:avLst/>
          </a:prstGeom>
          <a:solidFill>
            <a:schemeClr val="accent5">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6650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75C3E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895DE7-8142-4F4B-A6BC-24319628C14F}"/>
              </a:ext>
            </a:extLst>
          </p:cNvPr>
          <p:cNvSpPr/>
          <p:nvPr/>
        </p:nvSpPr>
        <p:spPr bwMode="auto">
          <a:xfrm>
            <a:off x="269524" y="690282"/>
            <a:ext cx="11748763" cy="36307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2"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8" name="TextBox 7">
            <a:extLst>
              <a:ext uri="{FF2B5EF4-FFF2-40B4-BE49-F238E27FC236}">
                <a16:creationId xmlns:a16="http://schemas.microsoft.com/office/drawing/2014/main" id="{26025B8D-586C-40E2-813B-D44DD4CA4556}"/>
              </a:ext>
            </a:extLst>
          </p:cNvPr>
          <p:cNvSpPr txBox="1"/>
          <p:nvPr/>
        </p:nvSpPr>
        <p:spPr>
          <a:xfrm>
            <a:off x="4043903" y="950497"/>
            <a:ext cx="7974384"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GitHub: github.com\SQLMCT</a:t>
            </a:r>
          </a:p>
        </p:txBody>
      </p:sp>
      <p:pic>
        <p:nvPicPr>
          <p:cNvPr id="14" name="Picture 13" descr="A person wearing glasses and looking at the camera&#10;&#10;Description automatically generated">
            <a:extLst>
              <a:ext uri="{FF2B5EF4-FFF2-40B4-BE49-F238E27FC236}">
                <a16:creationId xmlns:a16="http://schemas.microsoft.com/office/drawing/2014/main" id="{4BF1FCD6-B874-43C1-B7DC-00D8BA759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275"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2">
            <a:extLst>
              <a:ext uri="{FF2B5EF4-FFF2-40B4-BE49-F238E27FC236}">
                <a16:creationId xmlns:a16="http://schemas.microsoft.com/office/drawing/2014/main" id="{BA556E9C-C257-46F8-806F-23A52BB5A3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1BCF9874-B55B-4EFC-BBD2-EC31BB5138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CD6C68E0-AA3D-4089-A9D8-76DB3F1D13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25638B0-3CDF-4AA9-9C43-F417F187C4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279329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Azure Monitor SQL Insights</a:t>
            </a:r>
          </a:p>
        </p:txBody>
      </p:sp>
      <p:graphicFrame>
        <p:nvGraphicFramePr>
          <p:cNvPr id="7" name="Diagram 6">
            <a:extLst>
              <a:ext uri="{FF2B5EF4-FFF2-40B4-BE49-F238E27FC236}">
                <a16:creationId xmlns:a16="http://schemas.microsoft.com/office/drawing/2014/main" id="{39982303-15CA-4C82-BCE8-00947D5F078A}"/>
              </a:ext>
            </a:extLst>
          </p:cNvPr>
          <p:cNvGraphicFramePr/>
          <p:nvPr/>
        </p:nvGraphicFramePr>
        <p:xfrm>
          <a:off x="469900" y="952295"/>
          <a:ext cx="5441000" cy="53344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8" name="Object 7">
            <a:extLst>
              <a:ext uri="{FF2B5EF4-FFF2-40B4-BE49-F238E27FC236}">
                <a16:creationId xmlns:a16="http://schemas.microsoft.com/office/drawing/2014/main" id="{507001F4-6B28-4B34-A5B7-087956ED6E5C}"/>
              </a:ext>
            </a:extLst>
          </p:cNvPr>
          <p:cNvGraphicFramePr>
            <a:graphicFrameLocks noChangeAspect="1"/>
          </p:cNvGraphicFramePr>
          <p:nvPr/>
        </p:nvGraphicFramePr>
        <p:xfrm>
          <a:off x="6481763" y="952295"/>
          <a:ext cx="4960937" cy="5203825"/>
        </p:xfrm>
        <a:graphic>
          <a:graphicData uri="http://schemas.openxmlformats.org/presentationml/2006/ole">
            <mc:AlternateContent xmlns:mc="http://schemas.openxmlformats.org/markup-compatibility/2006">
              <mc:Choice xmlns:v="urn:schemas-microsoft-com:vml" Requires="v">
                <p:oleObj spid="_x0000_s2050" name="Bitmap Image" r:id="rId10" imgW="4960800" imgH="5204520" progId="Paint.Picture">
                  <p:embed/>
                </p:oleObj>
              </mc:Choice>
              <mc:Fallback>
                <p:oleObj name="Bitmap Image" r:id="rId10" imgW="4960800" imgH="5204520" progId="Paint.Picture">
                  <p:embed/>
                  <p:pic>
                    <p:nvPicPr>
                      <p:cNvPr id="8" name="Object 7">
                        <a:extLst>
                          <a:ext uri="{FF2B5EF4-FFF2-40B4-BE49-F238E27FC236}">
                            <a16:creationId xmlns:a16="http://schemas.microsoft.com/office/drawing/2014/main" id="{507001F4-6B28-4B34-A5B7-087956ED6E5C}"/>
                          </a:ext>
                        </a:extLst>
                      </p:cNvPr>
                      <p:cNvPicPr/>
                      <p:nvPr/>
                    </p:nvPicPr>
                    <p:blipFill>
                      <a:blip r:embed="rId11"/>
                      <a:stretch>
                        <a:fillRect/>
                      </a:stretch>
                    </p:blipFill>
                    <p:spPr>
                      <a:xfrm>
                        <a:off x="6481763" y="952295"/>
                        <a:ext cx="4960937" cy="5203825"/>
                      </a:xfrm>
                      <a:prstGeom prst="rect">
                        <a:avLst/>
                      </a:prstGeom>
                      <a:ln w="38100">
                        <a:solidFill>
                          <a:schemeClr val="tx1"/>
                        </a:solidFill>
                      </a:ln>
                    </p:spPr>
                  </p:pic>
                </p:oleObj>
              </mc:Fallback>
            </mc:AlternateContent>
          </a:graphicData>
        </a:graphic>
      </p:graphicFrame>
    </p:spTree>
    <p:custDataLst>
      <p:tags r:id="rId2"/>
    </p:custDataLst>
    <p:extLst>
      <p:ext uri="{BB962C8B-B14F-4D97-AF65-F5344CB8AC3E}">
        <p14:creationId xmlns:p14="http://schemas.microsoft.com/office/powerpoint/2010/main" val="259354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nstration</a:t>
            </a:r>
          </a:p>
        </p:txBody>
      </p:sp>
    </p:spTree>
    <p:extLst>
      <p:ext uri="{BB962C8B-B14F-4D97-AF65-F5344CB8AC3E}">
        <p14:creationId xmlns:p14="http://schemas.microsoft.com/office/powerpoint/2010/main" val="1300929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What does this session cover?</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extLst>
              <p:ext uri="{D42A27DB-BD31-4B8C-83A1-F6EECF244321}">
                <p14:modId xmlns:p14="http://schemas.microsoft.com/office/powerpoint/2010/main" val="220450646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Video 8">
            <a:extLst>
              <a:ext uri="{FF2B5EF4-FFF2-40B4-BE49-F238E27FC236}">
                <a16:creationId xmlns:a16="http://schemas.microsoft.com/office/drawing/2014/main" id="{B5300F71-EB1F-4540-A7BD-97E3656FB4CB}"/>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t="308" b="21169"/>
          <a:stretch/>
        </p:blipFill>
        <p:spPr>
          <a:xfrm>
            <a:off x="0" y="736446"/>
            <a:ext cx="12192000" cy="5385107"/>
          </a:xfrm>
          <a:prstGeom prst="rect">
            <a:avLst/>
          </a:prstGeom>
          <a:noFill/>
        </p:spPr>
      </p:pic>
      <p:sp>
        <p:nvSpPr>
          <p:cNvPr id="7" name="Title 1">
            <a:extLst>
              <a:ext uri="{FF2B5EF4-FFF2-40B4-BE49-F238E27FC236}">
                <a16:creationId xmlns:a16="http://schemas.microsoft.com/office/drawing/2014/main" id="{6FDD25DC-901F-4F78-A6D8-D6406C0A1346}"/>
              </a:ext>
            </a:extLst>
          </p:cNvPr>
          <p:cNvSpPr txBox="1">
            <a:spLocks/>
          </p:cNvSpPr>
          <p:nvPr/>
        </p:nvSpPr>
        <p:spPr>
          <a:xfrm>
            <a:off x="621451" y="4519136"/>
            <a:ext cx="10960949" cy="738664"/>
          </a:xfrm>
          <a:prstGeom prst="rect">
            <a:avLst/>
          </a:prstGeom>
          <a:noFill/>
        </p:spPr>
        <p:txBody>
          <a:bodyPr vert="horz" wrap="square" lIns="0" tIns="0" rIns="0" bIns="182880" rtlCol="0" anchor="b" anchorCtr="0">
            <a:norm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a:lnSpc>
                <a:spcPct val="100000"/>
              </a:lnSpc>
              <a:spcAft>
                <a:spcPts val="600"/>
              </a:spcAft>
            </a:pPr>
            <a:r>
              <a:rPr lang="en-US" sz="3600" b="0" strike="noStrike" kern="1200" cap="none" spc="-147" baseline="0">
                <a:ln w="3175">
                  <a:noFill/>
                </a:ln>
                <a:solidFill>
                  <a:schemeClr val="bg2"/>
                </a:solidFill>
                <a:effectLst/>
                <a:latin typeface="+mj-lt"/>
                <a:ea typeface="+mn-ea"/>
                <a:cs typeface="Segoe UI" pitchFamily="34" charset="0"/>
              </a:rPr>
              <a:t>Azure Monitor Metrics and Alerts</a:t>
            </a:r>
          </a:p>
        </p:txBody>
      </p:sp>
    </p:spTree>
    <p:extLst>
      <p:ext uri="{BB962C8B-B14F-4D97-AF65-F5344CB8AC3E}">
        <p14:creationId xmlns:p14="http://schemas.microsoft.com/office/powerpoint/2010/main" val="4111225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00"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mute="1">
                <p:cTn id="12" repeatCount="indefinite" fill="hold" display="0">
                  <p:stCondLst>
                    <p:cond delay="indefinite"/>
                  </p:stCondLst>
                </p:cTn>
                <p:tgtEl>
                  <p:spTgt spid="9"/>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Azure Monitor</a:t>
            </a:r>
          </a:p>
        </p:txBody>
      </p:sp>
      <p:graphicFrame>
        <p:nvGraphicFramePr>
          <p:cNvPr id="4" name="Object 3">
            <a:extLst>
              <a:ext uri="{FF2B5EF4-FFF2-40B4-BE49-F238E27FC236}">
                <a16:creationId xmlns:a16="http://schemas.microsoft.com/office/drawing/2014/main" id="{34D01779-583E-499E-A56D-15727AA954B8}"/>
              </a:ext>
            </a:extLst>
          </p:cNvPr>
          <p:cNvGraphicFramePr>
            <a:graphicFrameLocks noChangeAspect="1"/>
          </p:cNvGraphicFramePr>
          <p:nvPr/>
        </p:nvGraphicFramePr>
        <p:xfrm>
          <a:off x="269238" y="1104899"/>
          <a:ext cx="11812516" cy="4860131"/>
        </p:xfrm>
        <a:graphic>
          <a:graphicData uri="http://schemas.openxmlformats.org/presentationml/2006/ole">
            <mc:AlternateContent xmlns:mc="http://schemas.openxmlformats.org/markup-compatibility/2006">
              <mc:Choice xmlns:v="urn:schemas-microsoft-com:vml" Requires="v">
                <p:oleObj spid="_x0000_s1026" name="Bitmap Image" r:id="rId5" imgW="12321720" imgH="5059800" progId="Paint.Picture">
                  <p:embed/>
                </p:oleObj>
              </mc:Choice>
              <mc:Fallback>
                <p:oleObj name="Bitmap Image" r:id="rId5" imgW="12321720" imgH="5059800" progId="Paint.Picture">
                  <p:embed/>
                  <p:pic>
                    <p:nvPicPr>
                      <p:cNvPr id="4" name="Object 3">
                        <a:extLst>
                          <a:ext uri="{FF2B5EF4-FFF2-40B4-BE49-F238E27FC236}">
                            <a16:creationId xmlns:a16="http://schemas.microsoft.com/office/drawing/2014/main" id="{34D01779-583E-499E-A56D-15727AA954B8}"/>
                          </a:ext>
                        </a:extLst>
                      </p:cNvPr>
                      <p:cNvPicPr/>
                      <p:nvPr/>
                    </p:nvPicPr>
                    <p:blipFill>
                      <a:blip r:embed="rId6"/>
                      <a:stretch>
                        <a:fillRect/>
                      </a:stretch>
                    </p:blipFill>
                    <p:spPr>
                      <a:xfrm>
                        <a:off x="269238" y="1104899"/>
                        <a:ext cx="11812516" cy="4860131"/>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928001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Azure Monitor Metrics</a:t>
            </a:r>
          </a:p>
        </p:txBody>
      </p:sp>
      <p:graphicFrame>
        <p:nvGraphicFramePr>
          <p:cNvPr id="3" name="Diagram 2">
            <a:extLst>
              <a:ext uri="{FF2B5EF4-FFF2-40B4-BE49-F238E27FC236}">
                <a16:creationId xmlns:a16="http://schemas.microsoft.com/office/drawing/2014/main" id="{04FE94B3-2942-4C8F-AFA7-2806E4985D6C}"/>
              </a:ext>
            </a:extLst>
          </p:cNvPr>
          <p:cNvGraphicFramePr/>
          <p:nvPr>
            <p:extLst>
              <p:ext uri="{D42A27DB-BD31-4B8C-83A1-F6EECF244321}">
                <p14:modId xmlns:p14="http://schemas.microsoft.com/office/powerpoint/2010/main" val="1851297227"/>
              </p:ext>
            </p:extLst>
          </p:nvPr>
        </p:nvGraphicFramePr>
        <p:xfrm>
          <a:off x="269238" y="746385"/>
          <a:ext cx="11372850" cy="52061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2454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D5DFE24-1502-4FDF-AC2D-EC72B3353D74}"/>
              </a:ext>
            </a:extLst>
          </p:cNvPr>
          <p:cNvSpPr>
            <a:spLocks noGrp="1"/>
          </p:cNvSpPr>
          <p:nvPr>
            <p:ph type="title"/>
          </p:nvPr>
        </p:nvSpPr>
        <p:spPr>
          <a:xfrm>
            <a:off x="655639" y="320040"/>
            <a:ext cx="10880725" cy="461665"/>
          </a:xfrm>
        </p:spPr>
        <p:txBody>
          <a:bodyPr/>
          <a:lstStyle/>
          <a:p>
            <a:r>
              <a:rPr lang="en-US" dirty="0"/>
              <a:t>Azure Monitor Metrics</a:t>
            </a:r>
          </a:p>
        </p:txBody>
      </p:sp>
      <p:pic>
        <p:nvPicPr>
          <p:cNvPr id="4" name="Picture 3">
            <a:extLst>
              <a:ext uri="{FF2B5EF4-FFF2-40B4-BE49-F238E27FC236}">
                <a16:creationId xmlns:a16="http://schemas.microsoft.com/office/drawing/2014/main" id="{229D78F2-3037-4AC9-872D-3F05CAFDC289}"/>
              </a:ext>
            </a:extLst>
          </p:cNvPr>
          <p:cNvPicPr>
            <a:picLocks noChangeAspect="1"/>
          </p:cNvPicPr>
          <p:nvPr/>
        </p:nvPicPr>
        <p:blipFill>
          <a:blip r:embed="rId2"/>
          <a:stretch>
            <a:fillRect/>
          </a:stretch>
        </p:blipFill>
        <p:spPr>
          <a:xfrm>
            <a:off x="655638" y="1286539"/>
            <a:ext cx="10880726" cy="466769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52941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D5DFE24-1502-4FDF-AC2D-EC72B3353D74}"/>
              </a:ext>
            </a:extLst>
          </p:cNvPr>
          <p:cNvSpPr>
            <a:spLocks noGrp="1"/>
          </p:cNvSpPr>
          <p:nvPr>
            <p:ph type="title"/>
          </p:nvPr>
        </p:nvSpPr>
        <p:spPr>
          <a:xfrm>
            <a:off x="655639" y="320040"/>
            <a:ext cx="10880725" cy="461665"/>
          </a:xfrm>
        </p:spPr>
        <p:txBody>
          <a:bodyPr/>
          <a:lstStyle/>
          <a:p>
            <a:r>
              <a:rPr lang="en-US" dirty="0"/>
              <a:t>Azure Monitor Metrics</a:t>
            </a:r>
          </a:p>
        </p:txBody>
      </p:sp>
      <p:graphicFrame>
        <p:nvGraphicFramePr>
          <p:cNvPr id="2" name="Table 1">
            <a:extLst>
              <a:ext uri="{FF2B5EF4-FFF2-40B4-BE49-F238E27FC236}">
                <a16:creationId xmlns:a16="http://schemas.microsoft.com/office/drawing/2014/main" id="{BB000E34-C911-4FC7-BAB8-57C912B8080B}"/>
              </a:ext>
            </a:extLst>
          </p:cNvPr>
          <p:cNvGraphicFramePr>
            <a:graphicFrameLocks noGrp="1"/>
          </p:cNvGraphicFramePr>
          <p:nvPr>
            <p:extLst>
              <p:ext uri="{D42A27DB-BD31-4B8C-83A1-F6EECF244321}">
                <p14:modId xmlns:p14="http://schemas.microsoft.com/office/powerpoint/2010/main" val="4130965679"/>
              </p:ext>
            </p:extLst>
          </p:nvPr>
        </p:nvGraphicFramePr>
        <p:xfrm>
          <a:off x="759936" y="930612"/>
          <a:ext cx="10672128" cy="5331808"/>
        </p:xfrm>
        <a:graphic>
          <a:graphicData uri="http://schemas.openxmlformats.org/drawingml/2006/table">
            <a:tbl>
              <a:tblPr firstRow="1" bandRow="1">
                <a:tableStyleId>{1E171933-4619-4E11-9A3F-F7608DF75F80}</a:tableStyleId>
              </a:tblPr>
              <a:tblGrid>
                <a:gridCol w="4061188">
                  <a:extLst>
                    <a:ext uri="{9D8B030D-6E8A-4147-A177-3AD203B41FA5}">
                      <a16:colId xmlns:a16="http://schemas.microsoft.com/office/drawing/2014/main" val="1523435160"/>
                    </a:ext>
                  </a:extLst>
                </a:gridCol>
                <a:gridCol w="3010137">
                  <a:extLst>
                    <a:ext uri="{9D8B030D-6E8A-4147-A177-3AD203B41FA5}">
                      <a16:colId xmlns:a16="http://schemas.microsoft.com/office/drawing/2014/main" val="2943749789"/>
                    </a:ext>
                  </a:extLst>
                </a:gridCol>
                <a:gridCol w="3600803">
                  <a:extLst>
                    <a:ext uri="{9D8B030D-6E8A-4147-A177-3AD203B41FA5}">
                      <a16:colId xmlns:a16="http://schemas.microsoft.com/office/drawing/2014/main" val="1660173354"/>
                    </a:ext>
                  </a:extLst>
                </a:gridCol>
              </a:tblGrid>
              <a:tr h="302608">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200" dirty="0"/>
                        <a:t>Metric Name</a:t>
                      </a:r>
                    </a:p>
                  </a:txBody>
                  <a:tcPr anchor="ct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200" dirty="0"/>
                        <a:t>Aggregation Type</a:t>
                      </a:r>
                    </a:p>
                  </a:txBody>
                  <a:tcPr anchor="ct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200" dirty="0"/>
                        <a:t>Minimum Alert Time Window</a:t>
                      </a:r>
                    </a:p>
                  </a:txBody>
                  <a:tcPr anchor="ctr"/>
                </a:tc>
                <a:extLst>
                  <a:ext uri="{0D108BD9-81ED-4DB2-BD59-A6C34878D82A}">
                    <a16:rowId xmlns:a16="http://schemas.microsoft.com/office/drawing/2014/main" val="1650020078"/>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CPU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100260127"/>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ata IO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3561235282"/>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Log IO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784360551"/>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TU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1396234404"/>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 database siz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Maximum</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30 minutes</a:t>
                      </a:r>
                    </a:p>
                  </a:txBody>
                  <a:tcPr marL="101600" marR="101600" marT="76200" marB="76200" anchor="ctr"/>
                </a:tc>
                <a:extLst>
                  <a:ext uri="{0D108BD9-81ED-4DB2-BD59-A6C34878D82A}">
                    <a16:rowId xmlns:a16="http://schemas.microsoft.com/office/drawing/2014/main" val="2427411528"/>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Successful Connections</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10 minutes</a:t>
                      </a:r>
                    </a:p>
                  </a:txBody>
                  <a:tcPr marL="101600" marR="101600" marT="76200" marB="76200" anchor="ctr"/>
                </a:tc>
                <a:extLst>
                  <a:ext uri="{0D108BD9-81ED-4DB2-BD59-A6C34878D82A}">
                    <a16:rowId xmlns:a16="http://schemas.microsoft.com/office/drawing/2014/main" val="2338336002"/>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Failed Connections</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10 minutes</a:t>
                      </a:r>
                    </a:p>
                  </a:txBody>
                  <a:tcPr marL="101600" marR="101600" marT="76200" marB="76200" anchor="ctr"/>
                </a:tc>
                <a:extLst>
                  <a:ext uri="{0D108BD9-81ED-4DB2-BD59-A6C34878D82A}">
                    <a16:rowId xmlns:a16="http://schemas.microsoft.com/office/drawing/2014/main" val="3339732891"/>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Blocked by Firewal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10 minutes</a:t>
                      </a:r>
                    </a:p>
                  </a:txBody>
                  <a:tcPr marL="101600" marR="101600" marT="76200" marB="76200" anchor="ctr"/>
                </a:tc>
                <a:extLst>
                  <a:ext uri="{0D108BD9-81ED-4DB2-BD59-A6C34878D82A}">
                    <a16:rowId xmlns:a16="http://schemas.microsoft.com/office/drawing/2014/main" val="4058425975"/>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eadlocks</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10 minutes</a:t>
                      </a:r>
                    </a:p>
                  </a:txBody>
                  <a:tcPr marL="101600" marR="101600" marT="76200" marB="76200" anchor="ctr"/>
                </a:tc>
                <a:extLst>
                  <a:ext uri="{0D108BD9-81ED-4DB2-BD59-A6C34878D82A}">
                    <a16:rowId xmlns:a16="http://schemas.microsoft.com/office/drawing/2014/main" val="480648624"/>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atabase size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Maximum</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30 minutes</a:t>
                      </a:r>
                    </a:p>
                  </a:txBody>
                  <a:tcPr marL="101600" marR="101600" marT="76200" marB="76200" anchor="ctr"/>
                </a:tc>
                <a:extLst>
                  <a:ext uri="{0D108BD9-81ED-4DB2-BD59-A6C34878D82A}">
                    <a16:rowId xmlns:a16="http://schemas.microsoft.com/office/drawing/2014/main" val="1162220380"/>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200" dirty="0">
                          <a:effectLst/>
                        </a:rPr>
                        <a:t>In-Memory OLTP storage percent(Preview)</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1186998072"/>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Workers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2411990361"/>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Sessions percent</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3130779173"/>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TU limit</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106640429"/>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TU used</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2115120536"/>
                  </a:ext>
                </a:extLst>
              </a:tr>
            </a:tbl>
          </a:graphicData>
        </a:graphic>
      </p:graphicFrame>
    </p:spTree>
    <p:extLst>
      <p:ext uri="{BB962C8B-B14F-4D97-AF65-F5344CB8AC3E}">
        <p14:creationId xmlns:p14="http://schemas.microsoft.com/office/powerpoint/2010/main" val="3281272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D5DFE24-1502-4FDF-AC2D-EC72B3353D74}"/>
              </a:ext>
            </a:extLst>
          </p:cNvPr>
          <p:cNvSpPr>
            <a:spLocks noGrp="1"/>
          </p:cNvSpPr>
          <p:nvPr>
            <p:ph type="title"/>
          </p:nvPr>
        </p:nvSpPr>
        <p:spPr>
          <a:xfrm>
            <a:off x="655639" y="320040"/>
            <a:ext cx="10880725" cy="461665"/>
          </a:xfrm>
        </p:spPr>
        <p:txBody>
          <a:bodyPr/>
          <a:lstStyle/>
          <a:p>
            <a:r>
              <a:rPr lang="en-US" dirty="0"/>
              <a:t>Azure Monitor Alerts - Conditions</a:t>
            </a:r>
          </a:p>
        </p:txBody>
      </p:sp>
      <p:pic>
        <p:nvPicPr>
          <p:cNvPr id="6" name="Picture 5">
            <a:extLst>
              <a:ext uri="{FF2B5EF4-FFF2-40B4-BE49-F238E27FC236}">
                <a16:creationId xmlns:a16="http://schemas.microsoft.com/office/drawing/2014/main" id="{42D82F77-1F8E-4A93-9B06-53E1C605144B}"/>
              </a:ext>
            </a:extLst>
          </p:cNvPr>
          <p:cNvPicPr>
            <a:picLocks noChangeAspect="1"/>
          </p:cNvPicPr>
          <p:nvPr/>
        </p:nvPicPr>
        <p:blipFill>
          <a:blip r:embed="rId2"/>
          <a:stretch>
            <a:fillRect/>
          </a:stretch>
        </p:blipFill>
        <p:spPr>
          <a:xfrm>
            <a:off x="731211" y="1062935"/>
            <a:ext cx="2074495" cy="1426216"/>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ECE94C1B-31D8-480D-BA45-576BB899CE8C}"/>
              </a:ext>
            </a:extLst>
          </p:cNvPr>
          <p:cNvPicPr>
            <a:picLocks noChangeAspect="1"/>
          </p:cNvPicPr>
          <p:nvPr/>
        </p:nvPicPr>
        <p:blipFill>
          <a:blip r:embed="rId3"/>
          <a:stretch>
            <a:fillRect/>
          </a:stretch>
        </p:blipFill>
        <p:spPr>
          <a:xfrm>
            <a:off x="2250573" y="1461084"/>
            <a:ext cx="5583133" cy="4614841"/>
          </a:xfrm>
          <a:prstGeom prst="rect">
            <a:avLst/>
          </a:prstGeom>
          <a:ln>
            <a:noFill/>
          </a:ln>
          <a:effectLst>
            <a:outerShdw blurRad="190500" algn="tl" rotWithShape="0">
              <a:srgbClr val="000000">
                <a:alpha val="70000"/>
              </a:srgbClr>
            </a:outerShdw>
          </a:effectLst>
        </p:spPr>
      </p:pic>
      <p:pic>
        <p:nvPicPr>
          <p:cNvPr id="3" name="Picture 2">
            <a:extLst>
              <a:ext uri="{FF2B5EF4-FFF2-40B4-BE49-F238E27FC236}">
                <a16:creationId xmlns:a16="http://schemas.microsoft.com/office/drawing/2014/main" id="{E203186B-BB64-49BB-8465-2290A91C80DC}"/>
              </a:ext>
            </a:extLst>
          </p:cNvPr>
          <p:cNvPicPr>
            <a:picLocks noChangeAspect="1"/>
          </p:cNvPicPr>
          <p:nvPr/>
        </p:nvPicPr>
        <p:blipFill rotWithShape="1">
          <a:blip r:embed="rId4"/>
          <a:srcRect l="1" r="-4133"/>
          <a:stretch/>
        </p:blipFill>
        <p:spPr>
          <a:xfrm>
            <a:off x="6657037" y="1392179"/>
            <a:ext cx="5089452" cy="47526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480745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1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434351B0-8B7B-4F43-B026-BFEAB1482897}">
  <ds:schemaRefs>
    <ds:schemaRef ds:uri="Strauss.PersonalizationDefinition"/>
  </ds:schemaRefs>
</ds:datastoreItem>
</file>

<file path=customXml/itemProps2.xml><?xml version="1.0" encoding="utf-8"?>
<ds:datastoreItem xmlns:ds="http://schemas.openxmlformats.org/officeDocument/2006/customXml" ds:itemID="{5661E963-C7D3-4B9F-9461-10E39CE650B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606</Words>
  <Application>Microsoft Office PowerPoint</Application>
  <PresentationFormat>Widescreen</PresentationFormat>
  <Paragraphs>180</Paragraphs>
  <Slides>24</Slides>
  <Notes>9</Notes>
  <HiddenSlides>1</HiddenSlides>
  <MMClips>1</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Arial</vt:lpstr>
      <vt:lpstr>Calibri</vt:lpstr>
      <vt:lpstr>Segoe UI</vt:lpstr>
      <vt:lpstr>Segoe UI Semibold</vt:lpstr>
      <vt:lpstr>Wingdings</vt:lpstr>
      <vt:lpstr>Microsoft 365 PPT Template - 2018</vt:lpstr>
      <vt:lpstr>1_Dark Blue</vt:lpstr>
      <vt:lpstr>Bitmap Image</vt:lpstr>
      <vt:lpstr>Azure Monitor  and Log Analytics </vt:lpstr>
      <vt:lpstr>PowerPoint Presentation</vt:lpstr>
      <vt:lpstr>What does this session cover?</vt:lpstr>
      <vt:lpstr>PowerPoint Presentation</vt:lpstr>
      <vt:lpstr>Azure Monitor</vt:lpstr>
      <vt:lpstr>Azure Monitor Metrics</vt:lpstr>
      <vt:lpstr>Azure Monitor Metrics</vt:lpstr>
      <vt:lpstr>Azure Monitor Metrics</vt:lpstr>
      <vt:lpstr>Azure Monitor Alerts - Conditions</vt:lpstr>
      <vt:lpstr>Azure Monitor Alerts – Action Groups</vt:lpstr>
      <vt:lpstr>Azure Dashboards</vt:lpstr>
      <vt:lpstr>PowerPoint Presentation</vt:lpstr>
      <vt:lpstr>Azure Log Analytics</vt:lpstr>
      <vt:lpstr>What is Log Analytics?</vt:lpstr>
      <vt:lpstr>Enabling Log Analytics</vt:lpstr>
      <vt:lpstr>Create Log Analytics Workspace</vt:lpstr>
      <vt:lpstr>Configure Diagnostic Settings</vt:lpstr>
      <vt:lpstr>Querying Log Analytics (Avg CPU Usage)</vt:lpstr>
      <vt:lpstr>Querying Log Analytics (Deadlocks)</vt:lpstr>
      <vt:lpstr>Azure Monitor SQL Insights</vt:lpstr>
      <vt:lpstr>PowerPoint Presentation</vt:lpstr>
      <vt:lpstr>PowerPoint Presentation</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2-03-04T14:5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